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6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1" r:id="rId2"/>
  </p:sldMasterIdLst>
  <p:notesMasterIdLst>
    <p:notesMasterId r:id="rId13"/>
  </p:notesMasterIdLst>
  <p:sldIdLst>
    <p:sldId id="335" r:id="rId3"/>
    <p:sldId id="332" r:id="rId4"/>
    <p:sldId id="333" r:id="rId5"/>
    <p:sldId id="334" r:id="rId6"/>
    <p:sldId id="331" r:id="rId7"/>
    <p:sldId id="338" r:id="rId8"/>
    <p:sldId id="336" r:id="rId9"/>
    <p:sldId id="340" r:id="rId10"/>
    <p:sldId id="339" r:id="rId11"/>
    <p:sldId id="337" r:id="rId12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FF"/>
    <a:srgbClr val="FFA800"/>
    <a:srgbClr val="00A596"/>
    <a:srgbClr val="B9418C"/>
    <a:srgbClr val="FFE28F"/>
    <a:srgbClr val="4D4D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339" autoAdjust="0"/>
    <p:restoredTop sz="95382" autoAdjust="0"/>
  </p:normalViewPr>
  <p:slideViewPr>
    <p:cSldViewPr snapToGrid="0" snapToObjects="1">
      <p:cViewPr>
        <p:scale>
          <a:sx n="75" d="100"/>
          <a:sy n="75" d="100"/>
        </p:scale>
        <p:origin x="522" y="-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3">
  <dgm:title val=""/>
  <dgm:desc val=""/>
  <dgm:catLst>
    <dgm:cat type="accent6" pri="11300"/>
  </dgm:catLst>
  <dgm:styleLbl name="node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shade val="80000"/>
      </a:schemeClr>
      <a:schemeClr val="accent6">
        <a:tint val="7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/>
    <dgm:txEffectClrLst/>
  </dgm:styleLbl>
  <dgm:styleLbl name="ln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9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8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D8CB35D-9AA8-4D3B-85BD-0C98676B30A3}" type="doc">
      <dgm:prSet loTypeId="urn:microsoft.com/office/officeart/2008/layout/CircleAccentTimeline" loCatId="process" qsTypeId="urn:microsoft.com/office/officeart/2005/8/quickstyle/simple1" qsCatId="simple" csTypeId="urn:microsoft.com/office/officeart/2005/8/colors/accent6_3" csCatId="accent6" phldr="1"/>
      <dgm:spPr/>
      <dgm:t>
        <a:bodyPr/>
        <a:lstStyle/>
        <a:p>
          <a:endParaRPr lang="pt-BR"/>
        </a:p>
      </dgm:t>
    </dgm:pt>
    <dgm:pt modelId="{26566767-DCC0-4231-911B-DF7E9F672A5E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Setup inicial do Projeto RAID-FMS</a:t>
          </a:r>
          <a:endParaRPr lang="pt-BR" dirty="0">
            <a:latin typeface="Simplon BP Regular" pitchFamily="2" charset="0"/>
          </a:endParaRPr>
        </a:p>
      </dgm:t>
    </dgm:pt>
    <dgm:pt modelId="{A2092705-1AF7-46AC-8EBA-770D8371CA18}" type="parTrans" cxnId="{759640F5-3B3C-4255-B696-7C8AB98AFFA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6E1566C3-BB28-4580-B079-0BF96AF88419}" type="sibTrans" cxnId="{759640F5-3B3C-4255-B696-7C8AB98AFFA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A4F4D41-DDF6-494A-8DDF-DBA20DF76974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Aquisição Infra DEV/HML – NDS/SI</a:t>
          </a:r>
          <a:endParaRPr lang="pt-BR" dirty="0">
            <a:latin typeface="Simplon BP Regular" pitchFamily="2" charset="0"/>
          </a:endParaRPr>
        </a:p>
      </dgm:t>
    </dgm:pt>
    <dgm:pt modelId="{1151E5EA-0103-462A-B969-10246FCB6120}" type="parTrans" cxnId="{C4DA5776-1389-492B-9185-A0B1B842ADE3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E922CEC-986E-427E-8CAC-FE2ADD87AAE1}" type="sibTrans" cxnId="{C4DA5776-1389-492B-9185-A0B1B842ADE3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31715DCE-1033-4F51-AA7E-996A37078C2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nda2- Motor de Regras [</a:t>
          </a:r>
          <a:r>
            <a:rPr lang="pt-BR" dirty="0" err="1" smtClean="0">
              <a:latin typeface="Simplon BP Regular" pitchFamily="2" charset="0"/>
            </a:rPr>
            <a:t>Qwin</a:t>
          </a:r>
          <a:r>
            <a:rPr lang="pt-BR" dirty="0" smtClean="0">
              <a:latin typeface="Simplon BP Regular" pitchFamily="2" charset="0"/>
            </a:rPr>
            <a:t> TV </a:t>
          </a:r>
          <a:r>
            <a:rPr lang="pt-BR" dirty="0" err="1" smtClean="0">
              <a:latin typeface="Simplon BP Regular" pitchFamily="2" charset="0"/>
            </a:rPr>
            <a:t>offline</a:t>
          </a:r>
          <a:r>
            <a:rPr lang="pt-BR" dirty="0" smtClean="0">
              <a:latin typeface="Simplon BP Regular" pitchFamily="2" charset="0"/>
            </a:rPr>
            <a:t>]</a:t>
          </a:r>
          <a:endParaRPr lang="pt-BR" dirty="0">
            <a:latin typeface="Simplon BP Regular" pitchFamily="2" charset="0"/>
          </a:endParaRPr>
        </a:p>
      </dgm:t>
    </dgm:pt>
    <dgm:pt modelId="{B39B534A-E900-4C50-9B97-9FA90BE57A88}" type="parTrans" cxnId="{E39D2092-86B5-4605-A89B-5A4845451C08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9E991BD-6677-4EFD-8A6E-9B02290356F4}" type="sibTrans" cxnId="{E39D2092-86B5-4605-A89B-5A4845451C08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DC18236-30EB-4302-A4DA-2190886A08E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stalação FMS </a:t>
          </a:r>
          <a:r>
            <a:rPr lang="pt-BR" dirty="0" err="1" smtClean="0">
              <a:latin typeface="Simplon BP Regular" pitchFamily="2" charset="0"/>
            </a:rPr>
            <a:t>vanila</a:t>
          </a:r>
          <a:endParaRPr lang="pt-BR" dirty="0">
            <a:latin typeface="Simplon BP Regular" pitchFamily="2" charset="0"/>
          </a:endParaRPr>
        </a:p>
      </dgm:t>
    </dgm:pt>
    <dgm:pt modelId="{5226747E-1F3F-4544-A490-D72812649869}" type="parTrans" cxnId="{BDC3B72E-0527-4D43-8C8C-47DE50D8533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A3714163-7465-460C-B689-F1432FA66DF2}" type="sibTrans" cxnId="{BDC3B72E-0527-4D43-8C8C-47DE50D8533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7D3AE1B-73A5-48A4-9A09-1A300CDA4E8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Programa 1 Cadastro/Subscrição e Score externo</a:t>
          </a:r>
          <a:endParaRPr lang="pt-BR" dirty="0">
            <a:latin typeface="Simplon BP Regular" pitchFamily="2" charset="0"/>
          </a:endParaRPr>
        </a:p>
      </dgm:t>
    </dgm:pt>
    <dgm:pt modelId="{4F68B22E-2095-4F18-948D-3D45345C9EBD}" type="parTrans" cxnId="{8C714905-7576-4B2D-97CF-4B4157564734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9AF49E6B-4C65-4948-8F33-6E992478EDEF}" type="sibTrans" cxnId="{8C714905-7576-4B2D-97CF-4B4157564734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76EC1F7-996A-4DD0-A761-236B8084FE3C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nda1- Planejamento</a:t>
          </a:r>
          <a:r>
            <a:rPr lang="pt-BR" dirty="0" smtClean="0">
              <a:latin typeface="Simplon BP Regular" pitchFamily="2" charset="0"/>
            </a:rPr>
            <a:t>, </a:t>
          </a:r>
          <a:r>
            <a:rPr lang="pt-BR" dirty="0" err="1" smtClean="0">
              <a:latin typeface="Simplon BP Regular" pitchFamily="2" charset="0"/>
            </a:rPr>
            <a:t>scoping</a:t>
          </a:r>
          <a:r>
            <a:rPr lang="pt-BR" dirty="0" smtClean="0">
              <a:latin typeface="Simplon BP Regular" pitchFamily="2" charset="0"/>
            </a:rPr>
            <a:t> e </a:t>
          </a:r>
          <a:r>
            <a:rPr lang="pt-BR" dirty="0" err="1" smtClean="0">
              <a:latin typeface="Simplon BP Regular" pitchFamily="2" charset="0"/>
            </a:rPr>
            <a:t>Kick</a:t>
          </a:r>
          <a:r>
            <a:rPr lang="pt-BR" dirty="0" smtClean="0">
              <a:latin typeface="Simplon BP Regular" pitchFamily="2" charset="0"/>
            </a:rPr>
            <a:t>-off Programa 1</a:t>
          </a:r>
          <a:endParaRPr lang="pt-BR" dirty="0">
            <a:latin typeface="Simplon BP Regular" pitchFamily="2" charset="0"/>
          </a:endParaRPr>
        </a:p>
      </dgm:t>
    </dgm:pt>
    <dgm:pt modelId="{85715835-C126-456E-B66C-D52AF0D21E7A}" type="parTrans" cxnId="{51CC282A-332E-4D31-A3C8-0B3023FFA162}">
      <dgm:prSet/>
      <dgm:spPr/>
      <dgm:t>
        <a:bodyPr/>
        <a:lstStyle/>
        <a:p>
          <a:endParaRPr lang="pt-BR"/>
        </a:p>
      </dgm:t>
    </dgm:pt>
    <dgm:pt modelId="{38770524-231E-4006-AE1B-7520970ED3E8}" type="sibTrans" cxnId="{51CC282A-332E-4D31-A3C8-0B3023FFA162}">
      <dgm:prSet/>
      <dgm:spPr/>
      <dgm:t>
        <a:bodyPr/>
        <a:lstStyle/>
        <a:p>
          <a:endParaRPr lang="pt-BR"/>
        </a:p>
      </dgm:t>
    </dgm:pt>
    <dgm:pt modelId="{AD47C804-6BCC-4DBF-BB15-E03DC61E03B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nda3- Oi </a:t>
          </a:r>
          <a:r>
            <a:rPr lang="pt-BR" dirty="0" smtClean="0">
              <a:latin typeface="Simplon BP Regular" pitchFamily="2" charset="0"/>
            </a:rPr>
            <a:t>Total </a:t>
          </a:r>
          <a:r>
            <a:rPr lang="pt-BR" dirty="0" smtClean="0">
              <a:latin typeface="Simplon BP Regular" pitchFamily="2" charset="0"/>
            </a:rPr>
            <a:t>2P </a:t>
          </a:r>
          <a:r>
            <a:rPr lang="pt-BR" dirty="0" smtClean="0">
              <a:latin typeface="Simplon BP Regular" pitchFamily="2" charset="0"/>
            </a:rPr>
            <a:t>Fixo R1/R2 </a:t>
          </a:r>
          <a:r>
            <a:rPr lang="pt-BR" dirty="0" smtClean="0">
              <a:latin typeface="Simplon BP Regular" pitchFamily="2" charset="0"/>
            </a:rPr>
            <a:t>+ </a:t>
          </a:r>
          <a:r>
            <a:rPr lang="pt-BR" dirty="0" err="1" smtClean="0">
              <a:latin typeface="Simplon BP Regular" pitchFamily="2" charset="0"/>
            </a:rPr>
            <a:t>Transact</a:t>
          </a:r>
          <a:r>
            <a:rPr lang="pt-BR" dirty="0" smtClean="0">
              <a:latin typeface="Simplon BP Regular" pitchFamily="2" charset="0"/>
            </a:rPr>
            <a:t> Online</a:t>
          </a:r>
          <a:endParaRPr lang="pt-BR" dirty="0">
            <a:latin typeface="Simplon BP Regular" pitchFamily="2" charset="0"/>
          </a:endParaRPr>
        </a:p>
      </dgm:t>
    </dgm:pt>
    <dgm:pt modelId="{59D69028-5AFB-42D5-AED0-4DA4B138E63C}" type="parTrans" cxnId="{F0A3AD09-BD83-407D-B48C-B1B325D6F35E}">
      <dgm:prSet/>
      <dgm:spPr/>
      <dgm:t>
        <a:bodyPr/>
        <a:lstStyle/>
        <a:p>
          <a:endParaRPr lang="pt-BR"/>
        </a:p>
      </dgm:t>
    </dgm:pt>
    <dgm:pt modelId="{EE2326E8-1323-4F79-A0FD-AE89729D24D6}" type="sibTrans" cxnId="{F0A3AD09-BD83-407D-B48C-B1B325D6F35E}">
      <dgm:prSet/>
      <dgm:spPr/>
      <dgm:t>
        <a:bodyPr/>
        <a:lstStyle/>
        <a:p>
          <a:endParaRPr lang="pt-BR"/>
        </a:p>
      </dgm:t>
    </dgm:pt>
    <dgm:pt modelId="{3BB52753-ADB0-4BB6-8892-2A780252071D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nda4- OI </a:t>
          </a:r>
          <a:r>
            <a:rPr lang="pt-BR" dirty="0" smtClean="0">
              <a:latin typeface="Simplon BP Regular" pitchFamily="2" charset="0"/>
            </a:rPr>
            <a:t>Total 3P - TV Online</a:t>
          </a:r>
          <a:endParaRPr lang="pt-BR" dirty="0">
            <a:latin typeface="Simplon BP Regular" pitchFamily="2" charset="0"/>
          </a:endParaRPr>
        </a:p>
      </dgm:t>
    </dgm:pt>
    <dgm:pt modelId="{AFE8199E-AEBE-427E-8575-5D3465B6D755}" type="parTrans" cxnId="{7DA0130F-E37F-4618-82CF-FEFD9864A3C8}">
      <dgm:prSet/>
      <dgm:spPr/>
      <dgm:t>
        <a:bodyPr/>
        <a:lstStyle/>
        <a:p>
          <a:endParaRPr lang="pt-BR"/>
        </a:p>
      </dgm:t>
    </dgm:pt>
    <dgm:pt modelId="{1C8E540D-7B46-4518-9099-0937C9256430}" type="sibTrans" cxnId="{7DA0130F-E37F-4618-82CF-FEFD9864A3C8}">
      <dgm:prSet/>
      <dgm:spPr/>
      <dgm:t>
        <a:bodyPr/>
        <a:lstStyle/>
        <a:p>
          <a:endParaRPr lang="pt-BR"/>
        </a:p>
      </dgm:t>
    </dgm:pt>
    <dgm:pt modelId="{DBC45600-1869-4512-A3AB-AA97CD7EB4A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nda5 &amp; 6- Oi Total </a:t>
          </a:r>
          <a:r>
            <a:rPr lang="pt-BR" dirty="0" smtClean="0">
              <a:latin typeface="Simplon BP Regular" pitchFamily="2" charset="0"/>
            </a:rPr>
            <a:t>+ </a:t>
          </a:r>
          <a:r>
            <a:rPr lang="pt-BR" dirty="0" smtClean="0">
              <a:latin typeface="Simplon BP Regular" pitchFamily="2" charset="0"/>
            </a:rPr>
            <a:t>Móvel puro Online</a:t>
          </a:r>
          <a:endParaRPr lang="pt-BR" dirty="0">
            <a:latin typeface="Simplon BP Regular" pitchFamily="2" charset="0"/>
          </a:endParaRPr>
        </a:p>
      </dgm:t>
    </dgm:pt>
    <dgm:pt modelId="{16498317-318F-4429-8126-9630370E148E}" type="parTrans" cxnId="{F0340E11-4A53-4D0E-8F40-85635216F016}">
      <dgm:prSet/>
      <dgm:spPr/>
      <dgm:t>
        <a:bodyPr/>
        <a:lstStyle/>
        <a:p>
          <a:endParaRPr lang="pt-BR"/>
        </a:p>
      </dgm:t>
    </dgm:pt>
    <dgm:pt modelId="{F882C3DF-3E75-4E91-BA5E-46A9A7E0E4AC}" type="sibTrans" cxnId="{F0340E11-4A53-4D0E-8F40-85635216F016}">
      <dgm:prSet/>
      <dgm:spPr/>
      <dgm:t>
        <a:bodyPr/>
        <a:lstStyle/>
        <a:p>
          <a:endParaRPr lang="pt-BR"/>
        </a:p>
      </dgm:t>
    </dgm:pt>
    <dgm:pt modelId="{D3D679E8-8BB4-4301-8A72-28E361C78A32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nda7.1- Interfaces CRM</a:t>
          </a:r>
          <a:endParaRPr lang="pt-BR" dirty="0">
            <a:latin typeface="Simplon BP Regular" pitchFamily="2" charset="0"/>
          </a:endParaRPr>
        </a:p>
      </dgm:t>
    </dgm:pt>
    <dgm:pt modelId="{5531F80A-1DCD-4AC7-8D81-F0376F2F2ECF}" type="parTrans" cxnId="{AAD69A32-7C1E-4430-9A5F-E68E6A5147F8}">
      <dgm:prSet/>
      <dgm:spPr/>
      <dgm:t>
        <a:bodyPr/>
        <a:lstStyle/>
        <a:p>
          <a:endParaRPr lang="pt-BR"/>
        </a:p>
      </dgm:t>
    </dgm:pt>
    <dgm:pt modelId="{5EFF03F7-4D5E-4385-A110-DBFD9FD0D1B1}" type="sibTrans" cxnId="{AAD69A32-7C1E-4430-9A5F-E68E6A5147F8}">
      <dgm:prSet/>
      <dgm:spPr/>
      <dgm:t>
        <a:bodyPr/>
        <a:lstStyle/>
        <a:p>
          <a:endParaRPr lang="pt-BR"/>
        </a:p>
      </dgm:t>
    </dgm:pt>
    <dgm:pt modelId="{804FE1C7-0105-4454-82F6-BFEB7756393C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Aquisição Infra PRD – NDS/SI</a:t>
          </a:r>
          <a:endParaRPr lang="pt-BR" dirty="0">
            <a:latin typeface="Simplon BP Regular" pitchFamily="2" charset="0"/>
          </a:endParaRPr>
        </a:p>
      </dgm:t>
    </dgm:pt>
    <dgm:pt modelId="{925D52AE-81B1-472A-9D44-9867284638E4}" type="parTrans" cxnId="{C41219D5-0A19-4B52-8C88-06C478AE7DAA}">
      <dgm:prSet/>
      <dgm:spPr/>
      <dgm:t>
        <a:bodyPr/>
        <a:lstStyle/>
        <a:p>
          <a:endParaRPr lang="pt-BR"/>
        </a:p>
      </dgm:t>
    </dgm:pt>
    <dgm:pt modelId="{0E76CAC7-3853-4386-9996-AF5259B14558}" type="sibTrans" cxnId="{C41219D5-0A19-4B52-8C88-06C478AE7DAA}">
      <dgm:prSet/>
      <dgm:spPr/>
      <dgm:t>
        <a:bodyPr/>
        <a:lstStyle/>
        <a:p>
          <a:endParaRPr lang="pt-BR"/>
        </a:p>
      </dgm:t>
    </dgm:pt>
    <dgm:pt modelId="{37D2FDFA-F3C0-4E06-93F2-154319ABBCC8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nda7.2- Interfaces </a:t>
          </a:r>
          <a:r>
            <a:rPr lang="pt-BR" dirty="0" err="1" smtClean="0">
              <a:latin typeface="Simplon BP Regular" pitchFamily="2" charset="0"/>
            </a:rPr>
            <a:t>fat</a:t>
          </a:r>
          <a:r>
            <a:rPr lang="pt-BR" dirty="0" smtClean="0">
              <a:latin typeface="Simplon BP Regular" pitchFamily="2" charset="0"/>
            </a:rPr>
            <a:t>/</a:t>
          </a:r>
          <a:r>
            <a:rPr lang="pt-BR" dirty="0" err="1" smtClean="0">
              <a:latin typeface="Simplon BP Regular" pitchFamily="2" charset="0"/>
            </a:rPr>
            <a:t>inad</a:t>
          </a:r>
          <a:r>
            <a:rPr lang="pt-BR" dirty="0" smtClean="0">
              <a:latin typeface="Simplon BP Regular" pitchFamily="2" charset="0"/>
            </a:rPr>
            <a:t>/recargas etc.</a:t>
          </a:r>
          <a:endParaRPr lang="pt-BR" dirty="0">
            <a:latin typeface="Simplon BP Regular" pitchFamily="2" charset="0"/>
          </a:endParaRPr>
        </a:p>
      </dgm:t>
    </dgm:pt>
    <dgm:pt modelId="{D0F55E98-0847-4FF1-A601-D2074CAC1A16}" type="parTrans" cxnId="{DF81D2F8-0064-49C6-82E3-63C4F86E8494}">
      <dgm:prSet/>
      <dgm:spPr/>
      <dgm:t>
        <a:bodyPr/>
        <a:lstStyle/>
        <a:p>
          <a:endParaRPr lang="pt-BR"/>
        </a:p>
      </dgm:t>
    </dgm:pt>
    <dgm:pt modelId="{DB89F817-A12B-47BC-913F-ECF0B3992012}" type="sibTrans" cxnId="{DF81D2F8-0064-49C6-82E3-63C4F86E8494}">
      <dgm:prSet/>
      <dgm:spPr/>
      <dgm:t>
        <a:bodyPr/>
        <a:lstStyle/>
        <a:p>
          <a:endParaRPr lang="pt-BR"/>
        </a:p>
      </dgm:t>
    </dgm:pt>
    <dgm:pt modelId="{1A704293-4A00-4269-9793-84EF60BB46E7}" type="pres">
      <dgm:prSet presAssocID="{FD8CB35D-9AA8-4D3B-85BD-0C98676B30A3}" presName="Name0" presStyleCnt="0">
        <dgm:presLayoutVars>
          <dgm:dir/>
        </dgm:presLayoutVars>
      </dgm:prSet>
      <dgm:spPr/>
      <dgm:t>
        <a:bodyPr/>
        <a:lstStyle/>
        <a:p>
          <a:endParaRPr lang="pt-BR"/>
        </a:p>
      </dgm:t>
    </dgm:pt>
    <dgm:pt modelId="{A4C70CCE-E506-430D-8CE9-E3F0C822F8C1}" type="pres">
      <dgm:prSet presAssocID="{26566767-DCC0-4231-911B-DF7E9F672A5E}" presName="parComposite" presStyleCnt="0"/>
      <dgm:spPr/>
      <dgm:t>
        <a:bodyPr/>
        <a:lstStyle/>
        <a:p>
          <a:endParaRPr lang="pt-BR"/>
        </a:p>
      </dgm:t>
    </dgm:pt>
    <dgm:pt modelId="{56AEF2CF-BD74-47E9-9224-4EAC05CF5B8D}" type="pres">
      <dgm:prSet presAssocID="{26566767-DCC0-4231-911B-DF7E9F672A5E}" presName="parBigCircle" presStyleLbl="node0" presStyleIdx="0" presStyleCnt="2" custLinFactNeighborX="-1773"/>
      <dgm:spPr/>
      <dgm:t>
        <a:bodyPr/>
        <a:lstStyle/>
        <a:p>
          <a:endParaRPr lang="pt-BR"/>
        </a:p>
      </dgm:t>
    </dgm:pt>
    <dgm:pt modelId="{6F73384A-DB24-4E9B-9313-3EFB3DDE8577}" type="pres">
      <dgm:prSet presAssocID="{26566767-DCC0-4231-911B-DF7E9F672A5E}" presName="parTx" presStyleLbl="revTx" presStyleIdx="0" presStyleCnt="22"/>
      <dgm:spPr/>
      <dgm:t>
        <a:bodyPr/>
        <a:lstStyle/>
        <a:p>
          <a:endParaRPr lang="pt-BR"/>
        </a:p>
      </dgm:t>
    </dgm:pt>
    <dgm:pt modelId="{12B297DC-E2BD-43F9-AB76-F334910D5A94}" type="pres">
      <dgm:prSet presAssocID="{26566767-DCC0-4231-911B-DF7E9F672A5E}" presName="bSpace" presStyleCnt="0"/>
      <dgm:spPr/>
      <dgm:t>
        <a:bodyPr/>
        <a:lstStyle/>
        <a:p>
          <a:endParaRPr lang="pt-BR"/>
        </a:p>
      </dgm:t>
    </dgm:pt>
    <dgm:pt modelId="{C054349A-9079-4978-A10C-80B4000B73E6}" type="pres">
      <dgm:prSet presAssocID="{26566767-DCC0-4231-911B-DF7E9F672A5E}" presName="parBackupNorm" presStyleCnt="0"/>
      <dgm:spPr/>
      <dgm:t>
        <a:bodyPr/>
        <a:lstStyle/>
        <a:p>
          <a:endParaRPr lang="pt-BR"/>
        </a:p>
      </dgm:t>
    </dgm:pt>
    <dgm:pt modelId="{24C5703B-3128-468D-93D7-5B64EFF7DC5D}" type="pres">
      <dgm:prSet presAssocID="{6E1566C3-BB28-4580-B079-0BF96AF88419}" presName="parSpace" presStyleCnt="0"/>
      <dgm:spPr/>
      <dgm:t>
        <a:bodyPr/>
        <a:lstStyle/>
        <a:p>
          <a:endParaRPr lang="pt-BR"/>
        </a:p>
      </dgm:t>
    </dgm:pt>
    <dgm:pt modelId="{F5F5C2A5-CD2A-4BF3-9E7D-9CC3E927F990}" type="pres">
      <dgm:prSet presAssocID="{5A4F4D41-DDF6-494A-8DDF-DBA20DF76974}" presName="desBackupLeftNorm" presStyleCnt="0"/>
      <dgm:spPr/>
      <dgm:t>
        <a:bodyPr/>
        <a:lstStyle/>
        <a:p>
          <a:endParaRPr lang="pt-BR"/>
        </a:p>
      </dgm:t>
    </dgm:pt>
    <dgm:pt modelId="{00904F4D-D009-481C-BDD7-C81BF30DD670}" type="pres">
      <dgm:prSet presAssocID="{5A4F4D41-DDF6-494A-8DDF-DBA20DF76974}" presName="desComposite" presStyleCnt="0"/>
      <dgm:spPr/>
      <dgm:t>
        <a:bodyPr/>
        <a:lstStyle/>
        <a:p>
          <a:endParaRPr lang="pt-BR"/>
        </a:p>
      </dgm:t>
    </dgm:pt>
    <dgm:pt modelId="{46B25F0D-D431-4949-81A0-676174D34183}" type="pres">
      <dgm:prSet presAssocID="{5A4F4D41-DDF6-494A-8DDF-DBA20DF76974}" presName="desCircle" presStyleLbl="node1" presStyleIdx="0" presStyleCnt="10"/>
      <dgm:spPr/>
      <dgm:t>
        <a:bodyPr/>
        <a:lstStyle/>
        <a:p>
          <a:endParaRPr lang="pt-BR"/>
        </a:p>
      </dgm:t>
    </dgm:pt>
    <dgm:pt modelId="{593E5578-D846-4CF3-A9D5-73E453066575}" type="pres">
      <dgm:prSet presAssocID="{5A4F4D41-DDF6-494A-8DDF-DBA20DF76974}" presName="chTx" presStyleLbl="revTx" presStyleIdx="1" presStyleCnt="22"/>
      <dgm:spPr/>
      <dgm:t>
        <a:bodyPr/>
        <a:lstStyle/>
        <a:p>
          <a:endParaRPr lang="pt-BR"/>
        </a:p>
      </dgm:t>
    </dgm:pt>
    <dgm:pt modelId="{A1AA65C6-9A13-4697-920B-109CDD4DDA94}" type="pres">
      <dgm:prSet presAssocID="{5A4F4D41-DDF6-494A-8DDF-DBA20DF76974}" presName="desTx" presStyleLbl="revTx" presStyleIdx="2" presStyleCnt="22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E357F85-05B6-4B53-9066-7FB07E9EAA3E}" type="pres">
      <dgm:prSet presAssocID="{5A4F4D41-DDF6-494A-8DDF-DBA20DF76974}" presName="desBackupRightNorm" presStyleCnt="0"/>
      <dgm:spPr/>
      <dgm:t>
        <a:bodyPr/>
        <a:lstStyle/>
        <a:p>
          <a:endParaRPr lang="pt-BR"/>
        </a:p>
      </dgm:t>
    </dgm:pt>
    <dgm:pt modelId="{387B4C12-958B-44D9-A807-6D6D9A880085}" type="pres">
      <dgm:prSet presAssocID="{7E922CEC-986E-427E-8CAC-FE2ADD87AAE1}" presName="desSpace" presStyleCnt="0"/>
      <dgm:spPr/>
      <dgm:t>
        <a:bodyPr/>
        <a:lstStyle/>
        <a:p>
          <a:endParaRPr lang="pt-BR"/>
        </a:p>
      </dgm:t>
    </dgm:pt>
    <dgm:pt modelId="{84CCE456-9A31-4DEE-BAB7-3AAB4DB7BF78}" type="pres">
      <dgm:prSet presAssocID="{7DC18236-30EB-4302-A4DA-2190886A08E9}" presName="desBackupLeftNorm" presStyleCnt="0"/>
      <dgm:spPr/>
      <dgm:t>
        <a:bodyPr/>
        <a:lstStyle/>
        <a:p>
          <a:endParaRPr lang="pt-BR"/>
        </a:p>
      </dgm:t>
    </dgm:pt>
    <dgm:pt modelId="{DC73377C-628A-4405-9964-724C2189D1E3}" type="pres">
      <dgm:prSet presAssocID="{7DC18236-30EB-4302-A4DA-2190886A08E9}" presName="desComposite" presStyleCnt="0"/>
      <dgm:spPr/>
      <dgm:t>
        <a:bodyPr/>
        <a:lstStyle/>
        <a:p>
          <a:endParaRPr lang="pt-BR"/>
        </a:p>
      </dgm:t>
    </dgm:pt>
    <dgm:pt modelId="{3FC968D4-1463-4BB8-8E4F-74B77036556E}" type="pres">
      <dgm:prSet presAssocID="{7DC18236-30EB-4302-A4DA-2190886A08E9}" presName="desCircle" presStyleLbl="node1" presStyleIdx="1" presStyleCnt="10"/>
      <dgm:spPr/>
      <dgm:t>
        <a:bodyPr/>
        <a:lstStyle/>
        <a:p>
          <a:endParaRPr lang="pt-BR"/>
        </a:p>
      </dgm:t>
    </dgm:pt>
    <dgm:pt modelId="{02CA001B-E24E-4625-8CFA-1A6C755C930E}" type="pres">
      <dgm:prSet presAssocID="{7DC18236-30EB-4302-A4DA-2190886A08E9}" presName="chTx" presStyleLbl="revTx" presStyleIdx="3" presStyleCnt="22"/>
      <dgm:spPr/>
      <dgm:t>
        <a:bodyPr/>
        <a:lstStyle/>
        <a:p>
          <a:endParaRPr lang="pt-BR"/>
        </a:p>
      </dgm:t>
    </dgm:pt>
    <dgm:pt modelId="{E0FD4796-E7AB-488D-9336-DB3CCBEFE335}" type="pres">
      <dgm:prSet presAssocID="{7DC18236-30EB-4302-A4DA-2190886A08E9}" presName="desTx" presStyleLbl="revTx" presStyleIdx="4" presStyleCnt="22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E72B25E-0A65-488B-9C29-B1D763436A57}" type="pres">
      <dgm:prSet presAssocID="{7DC18236-30EB-4302-A4DA-2190886A08E9}" presName="desBackupRightNorm" presStyleCnt="0"/>
      <dgm:spPr/>
      <dgm:t>
        <a:bodyPr/>
        <a:lstStyle/>
        <a:p>
          <a:endParaRPr lang="pt-BR"/>
        </a:p>
      </dgm:t>
    </dgm:pt>
    <dgm:pt modelId="{341DCFA4-81F2-46C5-B89F-D9D6359A3202}" type="pres">
      <dgm:prSet presAssocID="{A3714163-7465-460C-B689-F1432FA66DF2}" presName="desSpace" presStyleCnt="0"/>
      <dgm:spPr/>
      <dgm:t>
        <a:bodyPr/>
        <a:lstStyle/>
        <a:p>
          <a:endParaRPr lang="pt-BR"/>
        </a:p>
      </dgm:t>
    </dgm:pt>
    <dgm:pt modelId="{B5ECE69A-1709-46E5-B808-E420C4621320}" type="pres">
      <dgm:prSet presAssocID="{776EC1F7-996A-4DD0-A761-236B8084FE3C}" presName="desBackupLeftNorm" presStyleCnt="0"/>
      <dgm:spPr/>
      <dgm:t>
        <a:bodyPr/>
        <a:lstStyle/>
        <a:p>
          <a:endParaRPr lang="pt-BR"/>
        </a:p>
      </dgm:t>
    </dgm:pt>
    <dgm:pt modelId="{61EE79E8-884E-4AB3-BBC9-A66BAE573D68}" type="pres">
      <dgm:prSet presAssocID="{776EC1F7-996A-4DD0-A761-236B8084FE3C}" presName="desComposite" presStyleCnt="0"/>
      <dgm:spPr/>
      <dgm:t>
        <a:bodyPr/>
        <a:lstStyle/>
        <a:p>
          <a:endParaRPr lang="pt-BR"/>
        </a:p>
      </dgm:t>
    </dgm:pt>
    <dgm:pt modelId="{40C4B2F5-DDA6-41E2-B2AF-97E4F39909E6}" type="pres">
      <dgm:prSet presAssocID="{776EC1F7-996A-4DD0-A761-236B8084FE3C}" presName="desCircle" presStyleLbl="node1" presStyleIdx="2" presStyleCnt="10"/>
      <dgm:spPr/>
      <dgm:t>
        <a:bodyPr/>
        <a:lstStyle/>
        <a:p>
          <a:endParaRPr lang="pt-BR"/>
        </a:p>
      </dgm:t>
    </dgm:pt>
    <dgm:pt modelId="{F56B5539-3C77-47E1-8754-B43314A96F14}" type="pres">
      <dgm:prSet presAssocID="{776EC1F7-996A-4DD0-A761-236B8084FE3C}" presName="chTx" presStyleLbl="revTx" presStyleIdx="5" presStyleCnt="22"/>
      <dgm:spPr/>
      <dgm:t>
        <a:bodyPr/>
        <a:lstStyle/>
        <a:p>
          <a:endParaRPr lang="pt-BR"/>
        </a:p>
      </dgm:t>
    </dgm:pt>
    <dgm:pt modelId="{0566B732-D545-48BE-881E-52A791DA4ABA}" type="pres">
      <dgm:prSet presAssocID="{776EC1F7-996A-4DD0-A761-236B8084FE3C}" presName="desTx" presStyleLbl="revTx" presStyleIdx="6" presStyleCnt="22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8B6973B3-817C-49CE-93D5-F952D3681F10}" type="pres">
      <dgm:prSet presAssocID="{776EC1F7-996A-4DD0-A761-236B8084FE3C}" presName="desBackupRightNorm" presStyleCnt="0"/>
      <dgm:spPr/>
      <dgm:t>
        <a:bodyPr/>
        <a:lstStyle/>
        <a:p>
          <a:endParaRPr lang="pt-BR"/>
        </a:p>
      </dgm:t>
    </dgm:pt>
    <dgm:pt modelId="{0E1C1D2A-502D-48CE-AEC8-7488D876E2ED}" type="pres">
      <dgm:prSet presAssocID="{38770524-231E-4006-AE1B-7520970ED3E8}" presName="desSpace" presStyleCnt="0"/>
      <dgm:spPr/>
      <dgm:t>
        <a:bodyPr/>
        <a:lstStyle/>
        <a:p>
          <a:endParaRPr lang="pt-BR"/>
        </a:p>
      </dgm:t>
    </dgm:pt>
    <dgm:pt modelId="{8345B538-0022-4B22-9389-B3EE7408EE47}" type="pres">
      <dgm:prSet presAssocID="{804FE1C7-0105-4454-82F6-BFEB7756393C}" presName="desBackupLeftNorm" presStyleCnt="0"/>
      <dgm:spPr/>
    </dgm:pt>
    <dgm:pt modelId="{2BBC5C49-B074-47C7-A786-478601038476}" type="pres">
      <dgm:prSet presAssocID="{804FE1C7-0105-4454-82F6-BFEB7756393C}" presName="desComposite" presStyleCnt="0"/>
      <dgm:spPr/>
    </dgm:pt>
    <dgm:pt modelId="{B88A808A-6D31-491D-BE3F-A489F02F644F}" type="pres">
      <dgm:prSet presAssocID="{804FE1C7-0105-4454-82F6-BFEB7756393C}" presName="desCircle" presStyleLbl="node1" presStyleIdx="3" presStyleCnt="10"/>
      <dgm:spPr/>
    </dgm:pt>
    <dgm:pt modelId="{33385588-CEE7-4921-86D6-5DB56F25733B}" type="pres">
      <dgm:prSet presAssocID="{804FE1C7-0105-4454-82F6-BFEB7756393C}" presName="chTx" presStyleLbl="revTx" presStyleIdx="7" presStyleCnt="22"/>
      <dgm:spPr/>
      <dgm:t>
        <a:bodyPr/>
        <a:lstStyle/>
        <a:p>
          <a:endParaRPr lang="pt-BR"/>
        </a:p>
      </dgm:t>
    </dgm:pt>
    <dgm:pt modelId="{9E2EB3AE-AB40-4FF6-81BC-67DD2E149D07}" type="pres">
      <dgm:prSet presAssocID="{804FE1C7-0105-4454-82F6-BFEB7756393C}" presName="desTx" presStyleLbl="revTx" presStyleIdx="8" presStyleCnt="22">
        <dgm:presLayoutVars>
          <dgm:bulletEnabled val="1"/>
        </dgm:presLayoutVars>
      </dgm:prSet>
      <dgm:spPr/>
    </dgm:pt>
    <dgm:pt modelId="{BD61E05B-478D-41B8-B2B8-AAB50A97C38B}" type="pres">
      <dgm:prSet presAssocID="{804FE1C7-0105-4454-82F6-BFEB7756393C}" presName="desBackupRightNorm" presStyleCnt="0"/>
      <dgm:spPr/>
    </dgm:pt>
    <dgm:pt modelId="{43353E85-5B6E-4CE7-A593-7F5D44BA6D4D}" type="pres">
      <dgm:prSet presAssocID="{0E76CAC7-3853-4386-9996-AF5259B14558}" presName="desSpace" presStyleCnt="0"/>
      <dgm:spPr/>
    </dgm:pt>
    <dgm:pt modelId="{7803BCF7-F0D7-4B1D-A3EF-8292C734420A}" type="pres">
      <dgm:prSet presAssocID="{57D3AE1B-73A5-48A4-9A09-1A300CDA4E8B}" presName="parComposite" presStyleCnt="0"/>
      <dgm:spPr/>
      <dgm:t>
        <a:bodyPr/>
        <a:lstStyle/>
        <a:p>
          <a:endParaRPr lang="pt-BR"/>
        </a:p>
      </dgm:t>
    </dgm:pt>
    <dgm:pt modelId="{F87B6F15-59C6-4659-B141-44CA8308F192}" type="pres">
      <dgm:prSet presAssocID="{57D3AE1B-73A5-48A4-9A09-1A300CDA4E8B}" presName="parBigCircle" presStyleLbl="node0" presStyleIdx="1" presStyleCnt="2"/>
      <dgm:spPr/>
      <dgm:t>
        <a:bodyPr/>
        <a:lstStyle/>
        <a:p>
          <a:endParaRPr lang="pt-BR"/>
        </a:p>
      </dgm:t>
    </dgm:pt>
    <dgm:pt modelId="{3EDE9DD2-3243-430B-BFDF-DB42C8C39F0F}" type="pres">
      <dgm:prSet presAssocID="{57D3AE1B-73A5-48A4-9A09-1A300CDA4E8B}" presName="parTx" presStyleLbl="revTx" presStyleIdx="9" presStyleCnt="22"/>
      <dgm:spPr/>
      <dgm:t>
        <a:bodyPr/>
        <a:lstStyle/>
        <a:p>
          <a:endParaRPr lang="pt-BR"/>
        </a:p>
      </dgm:t>
    </dgm:pt>
    <dgm:pt modelId="{54070C43-6009-4E1C-BA92-33271047321C}" type="pres">
      <dgm:prSet presAssocID="{57D3AE1B-73A5-48A4-9A09-1A300CDA4E8B}" presName="bSpace" presStyleCnt="0"/>
      <dgm:spPr/>
      <dgm:t>
        <a:bodyPr/>
        <a:lstStyle/>
        <a:p>
          <a:endParaRPr lang="pt-BR"/>
        </a:p>
      </dgm:t>
    </dgm:pt>
    <dgm:pt modelId="{7F10A9E6-0663-41C6-93C4-F47FB7BD746A}" type="pres">
      <dgm:prSet presAssocID="{57D3AE1B-73A5-48A4-9A09-1A300CDA4E8B}" presName="parBackupNorm" presStyleCnt="0"/>
      <dgm:spPr/>
      <dgm:t>
        <a:bodyPr/>
        <a:lstStyle/>
        <a:p>
          <a:endParaRPr lang="pt-BR"/>
        </a:p>
      </dgm:t>
    </dgm:pt>
    <dgm:pt modelId="{77DCCE78-72A1-491E-BC8D-F3AF5E37D4A8}" type="pres">
      <dgm:prSet presAssocID="{9AF49E6B-4C65-4948-8F33-6E992478EDEF}" presName="parSpace" presStyleCnt="0"/>
      <dgm:spPr/>
      <dgm:t>
        <a:bodyPr/>
        <a:lstStyle/>
        <a:p>
          <a:endParaRPr lang="pt-BR"/>
        </a:p>
      </dgm:t>
    </dgm:pt>
    <dgm:pt modelId="{C74E053A-3AC0-4730-9A92-0F2249A35D8A}" type="pres">
      <dgm:prSet presAssocID="{31715DCE-1033-4F51-AA7E-996A37078C2B}" presName="desBackupLeftNorm" presStyleCnt="0"/>
      <dgm:spPr/>
      <dgm:t>
        <a:bodyPr/>
        <a:lstStyle/>
        <a:p>
          <a:endParaRPr lang="pt-BR"/>
        </a:p>
      </dgm:t>
    </dgm:pt>
    <dgm:pt modelId="{42921E3A-CF41-49D9-A8B2-F862DACD1455}" type="pres">
      <dgm:prSet presAssocID="{31715DCE-1033-4F51-AA7E-996A37078C2B}" presName="desComposite" presStyleCnt="0"/>
      <dgm:spPr/>
      <dgm:t>
        <a:bodyPr/>
        <a:lstStyle/>
        <a:p>
          <a:endParaRPr lang="pt-BR"/>
        </a:p>
      </dgm:t>
    </dgm:pt>
    <dgm:pt modelId="{8DBDFD54-FA06-4E78-B1F9-B5C24B106AA5}" type="pres">
      <dgm:prSet presAssocID="{31715DCE-1033-4F51-AA7E-996A37078C2B}" presName="desCircle" presStyleLbl="node1" presStyleIdx="4" presStyleCnt="10"/>
      <dgm:spPr/>
      <dgm:t>
        <a:bodyPr/>
        <a:lstStyle/>
        <a:p>
          <a:endParaRPr lang="pt-BR"/>
        </a:p>
      </dgm:t>
    </dgm:pt>
    <dgm:pt modelId="{EB6A5027-8CC0-4067-8103-7E8095435049}" type="pres">
      <dgm:prSet presAssocID="{31715DCE-1033-4F51-AA7E-996A37078C2B}" presName="chTx" presStyleLbl="revTx" presStyleIdx="10" presStyleCnt="22"/>
      <dgm:spPr/>
      <dgm:t>
        <a:bodyPr/>
        <a:lstStyle/>
        <a:p>
          <a:endParaRPr lang="pt-BR"/>
        </a:p>
      </dgm:t>
    </dgm:pt>
    <dgm:pt modelId="{B8523729-5ED9-4781-9993-ED44EE714E76}" type="pres">
      <dgm:prSet presAssocID="{31715DCE-1033-4F51-AA7E-996A37078C2B}" presName="desTx" presStyleLbl="revTx" presStyleIdx="11" presStyleCnt="22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2157E965-1A58-4647-B54C-41301E78F91D}" type="pres">
      <dgm:prSet presAssocID="{31715DCE-1033-4F51-AA7E-996A37078C2B}" presName="desBackupRightNorm" presStyleCnt="0"/>
      <dgm:spPr/>
      <dgm:t>
        <a:bodyPr/>
        <a:lstStyle/>
        <a:p>
          <a:endParaRPr lang="pt-BR"/>
        </a:p>
      </dgm:t>
    </dgm:pt>
    <dgm:pt modelId="{2CE77E30-7D1E-4313-BA7A-72425E4B9296}" type="pres">
      <dgm:prSet presAssocID="{F9E991BD-6677-4EFD-8A6E-9B02290356F4}" presName="desSpace" presStyleCnt="0"/>
      <dgm:spPr/>
      <dgm:t>
        <a:bodyPr/>
        <a:lstStyle/>
        <a:p>
          <a:endParaRPr lang="pt-BR"/>
        </a:p>
      </dgm:t>
    </dgm:pt>
    <dgm:pt modelId="{C01DFA6D-43E5-4429-A9B3-E2886C2B08AB}" type="pres">
      <dgm:prSet presAssocID="{AD47C804-6BCC-4DBF-BB15-E03DC61E03B9}" presName="desBackupLeftNorm" presStyleCnt="0"/>
      <dgm:spPr/>
      <dgm:t>
        <a:bodyPr/>
        <a:lstStyle/>
        <a:p>
          <a:endParaRPr lang="pt-BR"/>
        </a:p>
      </dgm:t>
    </dgm:pt>
    <dgm:pt modelId="{7679D52D-7B5F-4A0F-9F3A-A6C3FF6AA255}" type="pres">
      <dgm:prSet presAssocID="{AD47C804-6BCC-4DBF-BB15-E03DC61E03B9}" presName="desComposite" presStyleCnt="0"/>
      <dgm:spPr/>
      <dgm:t>
        <a:bodyPr/>
        <a:lstStyle/>
        <a:p>
          <a:endParaRPr lang="pt-BR"/>
        </a:p>
      </dgm:t>
    </dgm:pt>
    <dgm:pt modelId="{98F6187D-F3FF-4676-8B83-7A42AA5EA52A}" type="pres">
      <dgm:prSet presAssocID="{AD47C804-6BCC-4DBF-BB15-E03DC61E03B9}" presName="desCircle" presStyleLbl="node1" presStyleIdx="5" presStyleCnt="10"/>
      <dgm:spPr/>
      <dgm:t>
        <a:bodyPr/>
        <a:lstStyle/>
        <a:p>
          <a:endParaRPr lang="pt-BR"/>
        </a:p>
      </dgm:t>
    </dgm:pt>
    <dgm:pt modelId="{BF4020F7-F215-45CC-8770-28C12A152C49}" type="pres">
      <dgm:prSet presAssocID="{AD47C804-6BCC-4DBF-BB15-E03DC61E03B9}" presName="chTx" presStyleLbl="revTx" presStyleIdx="12" presStyleCnt="22"/>
      <dgm:spPr/>
      <dgm:t>
        <a:bodyPr/>
        <a:lstStyle/>
        <a:p>
          <a:endParaRPr lang="pt-BR"/>
        </a:p>
      </dgm:t>
    </dgm:pt>
    <dgm:pt modelId="{9D3D5B97-3DE5-4600-B2D0-2F52A3508BAB}" type="pres">
      <dgm:prSet presAssocID="{AD47C804-6BCC-4DBF-BB15-E03DC61E03B9}" presName="desTx" presStyleLbl="revTx" presStyleIdx="13" presStyleCnt="22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AA258DE-25B0-4EEC-AE45-3BD52C790DDE}" type="pres">
      <dgm:prSet presAssocID="{AD47C804-6BCC-4DBF-BB15-E03DC61E03B9}" presName="desBackupRightNorm" presStyleCnt="0"/>
      <dgm:spPr/>
      <dgm:t>
        <a:bodyPr/>
        <a:lstStyle/>
        <a:p>
          <a:endParaRPr lang="pt-BR"/>
        </a:p>
      </dgm:t>
    </dgm:pt>
    <dgm:pt modelId="{73CBFFD3-6A7B-4D17-8702-83FFF281EEA4}" type="pres">
      <dgm:prSet presAssocID="{EE2326E8-1323-4F79-A0FD-AE89729D24D6}" presName="desSpace" presStyleCnt="0"/>
      <dgm:spPr/>
      <dgm:t>
        <a:bodyPr/>
        <a:lstStyle/>
        <a:p>
          <a:endParaRPr lang="pt-BR"/>
        </a:p>
      </dgm:t>
    </dgm:pt>
    <dgm:pt modelId="{AF334E5A-D793-4FA0-A5C5-0D5AA4768030}" type="pres">
      <dgm:prSet presAssocID="{3BB52753-ADB0-4BB6-8892-2A780252071D}" presName="desBackupLeftNorm" presStyleCnt="0"/>
      <dgm:spPr/>
      <dgm:t>
        <a:bodyPr/>
        <a:lstStyle/>
        <a:p>
          <a:endParaRPr lang="pt-BR"/>
        </a:p>
      </dgm:t>
    </dgm:pt>
    <dgm:pt modelId="{52773FDC-4772-4F97-BC48-7D43FDF59697}" type="pres">
      <dgm:prSet presAssocID="{3BB52753-ADB0-4BB6-8892-2A780252071D}" presName="desComposite" presStyleCnt="0"/>
      <dgm:spPr/>
      <dgm:t>
        <a:bodyPr/>
        <a:lstStyle/>
        <a:p>
          <a:endParaRPr lang="pt-BR"/>
        </a:p>
      </dgm:t>
    </dgm:pt>
    <dgm:pt modelId="{285EB5AC-902D-472C-844D-916AF60547E4}" type="pres">
      <dgm:prSet presAssocID="{3BB52753-ADB0-4BB6-8892-2A780252071D}" presName="desCircle" presStyleLbl="node1" presStyleIdx="6" presStyleCnt="10"/>
      <dgm:spPr/>
      <dgm:t>
        <a:bodyPr/>
        <a:lstStyle/>
        <a:p>
          <a:endParaRPr lang="pt-BR"/>
        </a:p>
      </dgm:t>
    </dgm:pt>
    <dgm:pt modelId="{8CA68C6F-E3B6-46A7-A9B1-B780AB0310AB}" type="pres">
      <dgm:prSet presAssocID="{3BB52753-ADB0-4BB6-8892-2A780252071D}" presName="chTx" presStyleLbl="revTx" presStyleIdx="14" presStyleCnt="22"/>
      <dgm:spPr/>
      <dgm:t>
        <a:bodyPr/>
        <a:lstStyle/>
        <a:p>
          <a:endParaRPr lang="pt-BR"/>
        </a:p>
      </dgm:t>
    </dgm:pt>
    <dgm:pt modelId="{2BF1D30D-A645-461B-8B53-6D37647F8F3F}" type="pres">
      <dgm:prSet presAssocID="{3BB52753-ADB0-4BB6-8892-2A780252071D}" presName="desTx" presStyleLbl="revTx" presStyleIdx="15" presStyleCnt="22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2DE114B-FE75-4C07-93B2-1FFC0F4EA50E}" type="pres">
      <dgm:prSet presAssocID="{3BB52753-ADB0-4BB6-8892-2A780252071D}" presName="desBackupRightNorm" presStyleCnt="0"/>
      <dgm:spPr/>
      <dgm:t>
        <a:bodyPr/>
        <a:lstStyle/>
        <a:p>
          <a:endParaRPr lang="pt-BR"/>
        </a:p>
      </dgm:t>
    </dgm:pt>
    <dgm:pt modelId="{EACB1369-3186-4D39-944D-48FC110BAFF2}" type="pres">
      <dgm:prSet presAssocID="{1C8E540D-7B46-4518-9099-0937C9256430}" presName="desSpace" presStyleCnt="0"/>
      <dgm:spPr/>
      <dgm:t>
        <a:bodyPr/>
        <a:lstStyle/>
        <a:p>
          <a:endParaRPr lang="pt-BR"/>
        </a:p>
      </dgm:t>
    </dgm:pt>
    <dgm:pt modelId="{514ACA26-0E7A-4799-8323-8E78A018FE1A}" type="pres">
      <dgm:prSet presAssocID="{DBC45600-1869-4512-A3AB-AA97CD7EB4A9}" presName="desBackupLeftNorm" presStyleCnt="0"/>
      <dgm:spPr/>
      <dgm:t>
        <a:bodyPr/>
        <a:lstStyle/>
        <a:p>
          <a:endParaRPr lang="pt-BR"/>
        </a:p>
      </dgm:t>
    </dgm:pt>
    <dgm:pt modelId="{5A25D132-820E-44C3-AAA4-0E752E0B8155}" type="pres">
      <dgm:prSet presAssocID="{DBC45600-1869-4512-A3AB-AA97CD7EB4A9}" presName="desComposite" presStyleCnt="0"/>
      <dgm:spPr/>
      <dgm:t>
        <a:bodyPr/>
        <a:lstStyle/>
        <a:p>
          <a:endParaRPr lang="pt-BR"/>
        </a:p>
      </dgm:t>
    </dgm:pt>
    <dgm:pt modelId="{B554C5DC-DEEA-4AE2-942F-B531DCD6A4BC}" type="pres">
      <dgm:prSet presAssocID="{DBC45600-1869-4512-A3AB-AA97CD7EB4A9}" presName="desCircle" presStyleLbl="node1" presStyleIdx="7" presStyleCnt="10"/>
      <dgm:spPr/>
      <dgm:t>
        <a:bodyPr/>
        <a:lstStyle/>
        <a:p>
          <a:endParaRPr lang="pt-BR"/>
        </a:p>
      </dgm:t>
    </dgm:pt>
    <dgm:pt modelId="{D0E61BE3-08C2-42D5-B308-61E0BFDF64D4}" type="pres">
      <dgm:prSet presAssocID="{DBC45600-1869-4512-A3AB-AA97CD7EB4A9}" presName="chTx" presStyleLbl="revTx" presStyleIdx="16" presStyleCnt="22"/>
      <dgm:spPr/>
      <dgm:t>
        <a:bodyPr/>
        <a:lstStyle/>
        <a:p>
          <a:endParaRPr lang="pt-BR"/>
        </a:p>
      </dgm:t>
    </dgm:pt>
    <dgm:pt modelId="{0B76364A-724C-4D60-B742-8B2007D3D83F}" type="pres">
      <dgm:prSet presAssocID="{DBC45600-1869-4512-A3AB-AA97CD7EB4A9}" presName="desTx" presStyleLbl="revTx" presStyleIdx="17" presStyleCnt="22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F886749-129F-4F94-8FDC-026B682698D1}" type="pres">
      <dgm:prSet presAssocID="{DBC45600-1869-4512-A3AB-AA97CD7EB4A9}" presName="desBackupRightNorm" presStyleCnt="0"/>
      <dgm:spPr/>
      <dgm:t>
        <a:bodyPr/>
        <a:lstStyle/>
        <a:p>
          <a:endParaRPr lang="pt-BR"/>
        </a:p>
      </dgm:t>
    </dgm:pt>
    <dgm:pt modelId="{AA708E94-3504-4DF0-823F-FB4565134AB9}" type="pres">
      <dgm:prSet presAssocID="{F882C3DF-3E75-4E91-BA5E-46A9A7E0E4AC}" presName="desSpace" presStyleCnt="0"/>
      <dgm:spPr/>
      <dgm:t>
        <a:bodyPr/>
        <a:lstStyle/>
        <a:p>
          <a:endParaRPr lang="pt-BR"/>
        </a:p>
      </dgm:t>
    </dgm:pt>
    <dgm:pt modelId="{72A47222-7749-4661-A2AF-8C4E7D69F1FD}" type="pres">
      <dgm:prSet presAssocID="{D3D679E8-8BB4-4301-8A72-28E361C78A32}" presName="desBackupLeftNorm" presStyleCnt="0"/>
      <dgm:spPr/>
      <dgm:t>
        <a:bodyPr/>
        <a:lstStyle/>
        <a:p>
          <a:endParaRPr lang="pt-BR"/>
        </a:p>
      </dgm:t>
    </dgm:pt>
    <dgm:pt modelId="{60290D84-22F4-40D2-838C-4E1970F94875}" type="pres">
      <dgm:prSet presAssocID="{D3D679E8-8BB4-4301-8A72-28E361C78A32}" presName="desComposite" presStyleCnt="0"/>
      <dgm:spPr/>
      <dgm:t>
        <a:bodyPr/>
        <a:lstStyle/>
        <a:p>
          <a:endParaRPr lang="pt-BR"/>
        </a:p>
      </dgm:t>
    </dgm:pt>
    <dgm:pt modelId="{17B6CC0B-51B2-49F4-99D4-5638832F0DB8}" type="pres">
      <dgm:prSet presAssocID="{D3D679E8-8BB4-4301-8A72-28E361C78A32}" presName="desCircle" presStyleLbl="node1" presStyleIdx="8" presStyleCnt="10"/>
      <dgm:spPr/>
      <dgm:t>
        <a:bodyPr/>
        <a:lstStyle/>
        <a:p>
          <a:endParaRPr lang="pt-BR"/>
        </a:p>
      </dgm:t>
    </dgm:pt>
    <dgm:pt modelId="{D911B9EF-06FF-4EFF-B38F-46F7111F856E}" type="pres">
      <dgm:prSet presAssocID="{D3D679E8-8BB4-4301-8A72-28E361C78A32}" presName="chTx" presStyleLbl="revTx" presStyleIdx="18" presStyleCnt="22"/>
      <dgm:spPr/>
      <dgm:t>
        <a:bodyPr/>
        <a:lstStyle/>
        <a:p>
          <a:endParaRPr lang="pt-BR"/>
        </a:p>
      </dgm:t>
    </dgm:pt>
    <dgm:pt modelId="{9F22E223-C03C-4A17-985E-B8945A116FFF}" type="pres">
      <dgm:prSet presAssocID="{D3D679E8-8BB4-4301-8A72-28E361C78A32}" presName="desTx" presStyleLbl="revTx" presStyleIdx="19" presStyleCnt="22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8EB0A87-90C1-4AE9-8C2B-E508EB9E09A0}" type="pres">
      <dgm:prSet presAssocID="{D3D679E8-8BB4-4301-8A72-28E361C78A32}" presName="desBackupRightNorm" presStyleCnt="0"/>
      <dgm:spPr/>
      <dgm:t>
        <a:bodyPr/>
        <a:lstStyle/>
        <a:p>
          <a:endParaRPr lang="pt-BR"/>
        </a:p>
      </dgm:t>
    </dgm:pt>
    <dgm:pt modelId="{6785AC24-B12F-4FBA-A2E1-E2791399D68A}" type="pres">
      <dgm:prSet presAssocID="{5EFF03F7-4D5E-4385-A110-DBFD9FD0D1B1}" presName="desSpace" presStyleCnt="0"/>
      <dgm:spPr/>
      <dgm:t>
        <a:bodyPr/>
        <a:lstStyle/>
        <a:p>
          <a:endParaRPr lang="pt-BR"/>
        </a:p>
      </dgm:t>
    </dgm:pt>
    <dgm:pt modelId="{8B9717E1-B194-4E1F-AD43-F6D9913B20D9}" type="pres">
      <dgm:prSet presAssocID="{37D2FDFA-F3C0-4E06-93F2-154319ABBCC8}" presName="desBackupLeftNorm" presStyleCnt="0"/>
      <dgm:spPr/>
    </dgm:pt>
    <dgm:pt modelId="{38DB3036-1B7A-4FA4-BA20-6BD0F5F3ACC6}" type="pres">
      <dgm:prSet presAssocID="{37D2FDFA-F3C0-4E06-93F2-154319ABBCC8}" presName="desComposite" presStyleCnt="0"/>
      <dgm:spPr/>
    </dgm:pt>
    <dgm:pt modelId="{D51BFFF2-4320-4695-A3BB-35020D09811E}" type="pres">
      <dgm:prSet presAssocID="{37D2FDFA-F3C0-4E06-93F2-154319ABBCC8}" presName="desCircle" presStyleLbl="node1" presStyleIdx="9" presStyleCnt="10"/>
      <dgm:spPr/>
    </dgm:pt>
    <dgm:pt modelId="{6467B0E9-04E2-44A1-8F25-6FA6F36F33B1}" type="pres">
      <dgm:prSet presAssocID="{37D2FDFA-F3C0-4E06-93F2-154319ABBCC8}" presName="chTx" presStyleLbl="revTx" presStyleIdx="20" presStyleCnt="22"/>
      <dgm:spPr/>
      <dgm:t>
        <a:bodyPr/>
        <a:lstStyle/>
        <a:p>
          <a:endParaRPr lang="pt-BR"/>
        </a:p>
      </dgm:t>
    </dgm:pt>
    <dgm:pt modelId="{BD4CC4AC-B4AD-4C64-819F-6D2E8601042C}" type="pres">
      <dgm:prSet presAssocID="{37D2FDFA-F3C0-4E06-93F2-154319ABBCC8}" presName="desTx" presStyleLbl="revTx" presStyleIdx="21" presStyleCnt="22">
        <dgm:presLayoutVars>
          <dgm:bulletEnabled val="1"/>
        </dgm:presLayoutVars>
      </dgm:prSet>
      <dgm:spPr/>
    </dgm:pt>
    <dgm:pt modelId="{71D3FCE5-CB84-40A1-BF7B-4B6E47785EA7}" type="pres">
      <dgm:prSet presAssocID="{37D2FDFA-F3C0-4E06-93F2-154319ABBCC8}" presName="desBackupRightNorm" presStyleCnt="0"/>
      <dgm:spPr/>
    </dgm:pt>
    <dgm:pt modelId="{F93B194F-43C5-4B38-A4C0-5BF32D52ED05}" type="pres">
      <dgm:prSet presAssocID="{DB89F817-A12B-47BC-913F-ECF0B3992012}" presName="desSpace" presStyleCnt="0"/>
      <dgm:spPr/>
    </dgm:pt>
  </dgm:ptLst>
  <dgm:cxnLst>
    <dgm:cxn modelId="{D0EC7BB4-2B0B-42D9-BD28-5B8B97F9097C}" type="presOf" srcId="{DBC45600-1869-4512-A3AB-AA97CD7EB4A9}" destId="{D0E61BE3-08C2-42D5-B308-61E0BFDF64D4}" srcOrd="0" destOrd="0" presId="urn:microsoft.com/office/officeart/2008/layout/CircleAccentTimeline"/>
    <dgm:cxn modelId="{5742CC47-966F-440D-86CA-8CC151FB1E1D}" type="presOf" srcId="{5A4F4D41-DDF6-494A-8DDF-DBA20DF76974}" destId="{593E5578-D846-4CF3-A9D5-73E453066575}" srcOrd="0" destOrd="0" presId="urn:microsoft.com/office/officeart/2008/layout/CircleAccentTimeline"/>
    <dgm:cxn modelId="{7DA0130F-E37F-4618-82CF-FEFD9864A3C8}" srcId="{57D3AE1B-73A5-48A4-9A09-1A300CDA4E8B}" destId="{3BB52753-ADB0-4BB6-8892-2A780252071D}" srcOrd="2" destOrd="0" parTransId="{AFE8199E-AEBE-427E-8575-5D3465B6D755}" sibTransId="{1C8E540D-7B46-4518-9099-0937C9256430}"/>
    <dgm:cxn modelId="{F0A3AD09-BD83-407D-B48C-B1B325D6F35E}" srcId="{57D3AE1B-73A5-48A4-9A09-1A300CDA4E8B}" destId="{AD47C804-6BCC-4DBF-BB15-E03DC61E03B9}" srcOrd="1" destOrd="0" parTransId="{59D69028-5AFB-42D5-AED0-4DA4B138E63C}" sibTransId="{EE2326E8-1323-4F79-A0FD-AE89729D24D6}"/>
    <dgm:cxn modelId="{F0340E11-4A53-4D0E-8F40-85635216F016}" srcId="{57D3AE1B-73A5-48A4-9A09-1A300CDA4E8B}" destId="{DBC45600-1869-4512-A3AB-AA97CD7EB4A9}" srcOrd="3" destOrd="0" parTransId="{16498317-318F-4429-8126-9630370E148E}" sibTransId="{F882C3DF-3E75-4E91-BA5E-46A9A7E0E4AC}"/>
    <dgm:cxn modelId="{58974AEE-6363-4933-BDFC-45157ED97124}" type="presOf" srcId="{7DC18236-30EB-4302-A4DA-2190886A08E9}" destId="{02CA001B-E24E-4625-8CFA-1A6C755C930E}" srcOrd="0" destOrd="0" presId="urn:microsoft.com/office/officeart/2008/layout/CircleAccentTimeline"/>
    <dgm:cxn modelId="{2E10D514-5F80-48BB-9373-A48D255564B5}" type="presOf" srcId="{37D2FDFA-F3C0-4E06-93F2-154319ABBCC8}" destId="{6467B0E9-04E2-44A1-8F25-6FA6F36F33B1}" srcOrd="0" destOrd="0" presId="urn:microsoft.com/office/officeart/2008/layout/CircleAccentTimeline"/>
    <dgm:cxn modelId="{51CC282A-332E-4D31-A3C8-0B3023FFA162}" srcId="{26566767-DCC0-4231-911B-DF7E9F672A5E}" destId="{776EC1F7-996A-4DD0-A761-236B8084FE3C}" srcOrd="2" destOrd="0" parTransId="{85715835-C126-456E-B66C-D52AF0D21E7A}" sibTransId="{38770524-231E-4006-AE1B-7520970ED3E8}"/>
    <dgm:cxn modelId="{A1F0479C-59F8-445C-9CD6-416F7220518F}" type="presOf" srcId="{D3D679E8-8BB4-4301-8A72-28E361C78A32}" destId="{D911B9EF-06FF-4EFF-B38F-46F7111F856E}" srcOrd="0" destOrd="0" presId="urn:microsoft.com/office/officeart/2008/layout/CircleAccentTimeline"/>
    <dgm:cxn modelId="{DF81D2F8-0064-49C6-82E3-63C4F86E8494}" srcId="{57D3AE1B-73A5-48A4-9A09-1A300CDA4E8B}" destId="{37D2FDFA-F3C0-4E06-93F2-154319ABBCC8}" srcOrd="5" destOrd="0" parTransId="{D0F55E98-0847-4FF1-A601-D2074CAC1A16}" sibTransId="{DB89F817-A12B-47BC-913F-ECF0B3992012}"/>
    <dgm:cxn modelId="{C41219D5-0A19-4B52-8C88-06C478AE7DAA}" srcId="{26566767-DCC0-4231-911B-DF7E9F672A5E}" destId="{804FE1C7-0105-4454-82F6-BFEB7756393C}" srcOrd="3" destOrd="0" parTransId="{925D52AE-81B1-472A-9D44-9867284638E4}" sibTransId="{0E76CAC7-3853-4386-9996-AF5259B14558}"/>
    <dgm:cxn modelId="{AAD69A32-7C1E-4430-9A5F-E68E6A5147F8}" srcId="{57D3AE1B-73A5-48A4-9A09-1A300CDA4E8B}" destId="{D3D679E8-8BB4-4301-8A72-28E361C78A32}" srcOrd="4" destOrd="0" parTransId="{5531F80A-1DCD-4AC7-8D81-F0376F2F2ECF}" sibTransId="{5EFF03F7-4D5E-4385-A110-DBFD9FD0D1B1}"/>
    <dgm:cxn modelId="{E977A5CF-4751-4679-BFC3-2CE8C4912D87}" type="presOf" srcId="{26566767-DCC0-4231-911B-DF7E9F672A5E}" destId="{6F73384A-DB24-4E9B-9313-3EFB3DDE8577}" srcOrd="0" destOrd="0" presId="urn:microsoft.com/office/officeart/2008/layout/CircleAccentTimeline"/>
    <dgm:cxn modelId="{E0C0C438-2A21-413E-BB3B-C75B52F22E28}" type="presOf" srcId="{31715DCE-1033-4F51-AA7E-996A37078C2B}" destId="{EB6A5027-8CC0-4067-8103-7E8095435049}" srcOrd="0" destOrd="0" presId="urn:microsoft.com/office/officeart/2008/layout/CircleAccentTimeline"/>
    <dgm:cxn modelId="{C4DA5776-1389-492B-9185-A0B1B842ADE3}" srcId="{26566767-DCC0-4231-911B-DF7E9F672A5E}" destId="{5A4F4D41-DDF6-494A-8DDF-DBA20DF76974}" srcOrd="0" destOrd="0" parTransId="{1151E5EA-0103-462A-B969-10246FCB6120}" sibTransId="{7E922CEC-986E-427E-8CAC-FE2ADD87AAE1}"/>
    <dgm:cxn modelId="{6D782324-1811-412B-8FCB-6714DC48C37B}" type="presOf" srcId="{57D3AE1B-73A5-48A4-9A09-1A300CDA4E8B}" destId="{3EDE9DD2-3243-430B-BFDF-DB42C8C39F0F}" srcOrd="0" destOrd="0" presId="urn:microsoft.com/office/officeart/2008/layout/CircleAccentTimeline"/>
    <dgm:cxn modelId="{94BF7056-B3F1-4C58-9689-63413BE6E86A}" type="presOf" srcId="{804FE1C7-0105-4454-82F6-BFEB7756393C}" destId="{33385588-CEE7-4921-86D6-5DB56F25733B}" srcOrd="0" destOrd="0" presId="urn:microsoft.com/office/officeart/2008/layout/CircleAccentTimeline"/>
    <dgm:cxn modelId="{620DE3E3-B16A-4D55-B303-5C7222181C48}" type="presOf" srcId="{3BB52753-ADB0-4BB6-8892-2A780252071D}" destId="{8CA68C6F-E3B6-46A7-A9B1-B780AB0310AB}" srcOrd="0" destOrd="0" presId="urn:microsoft.com/office/officeart/2008/layout/CircleAccentTimeline"/>
    <dgm:cxn modelId="{759640F5-3B3C-4255-B696-7C8AB98AFFA9}" srcId="{FD8CB35D-9AA8-4D3B-85BD-0C98676B30A3}" destId="{26566767-DCC0-4231-911B-DF7E9F672A5E}" srcOrd="0" destOrd="0" parTransId="{A2092705-1AF7-46AC-8EBA-770D8371CA18}" sibTransId="{6E1566C3-BB28-4580-B079-0BF96AF88419}"/>
    <dgm:cxn modelId="{766FB835-9559-49D8-A0C1-23178FAE1988}" type="presOf" srcId="{AD47C804-6BCC-4DBF-BB15-E03DC61E03B9}" destId="{BF4020F7-F215-45CC-8770-28C12A152C49}" srcOrd="0" destOrd="0" presId="urn:microsoft.com/office/officeart/2008/layout/CircleAccentTimeline"/>
    <dgm:cxn modelId="{0E265ACC-EF65-4601-BE29-263424C76CF5}" type="presOf" srcId="{776EC1F7-996A-4DD0-A761-236B8084FE3C}" destId="{F56B5539-3C77-47E1-8754-B43314A96F14}" srcOrd="0" destOrd="0" presId="urn:microsoft.com/office/officeart/2008/layout/CircleAccentTimeline"/>
    <dgm:cxn modelId="{1D34487E-E363-4589-9C49-CD31BE01F8FB}" type="presOf" srcId="{FD8CB35D-9AA8-4D3B-85BD-0C98676B30A3}" destId="{1A704293-4A00-4269-9793-84EF60BB46E7}" srcOrd="0" destOrd="0" presId="urn:microsoft.com/office/officeart/2008/layout/CircleAccentTimeline"/>
    <dgm:cxn modelId="{BDC3B72E-0527-4D43-8C8C-47DE50D8533C}" srcId="{26566767-DCC0-4231-911B-DF7E9F672A5E}" destId="{7DC18236-30EB-4302-A4DA-2190886A08E9}" srcOrd="1" destOrd="0" parTransId="{5226747E-1F3F-4544-A490-D72812649869}" sibTransId="{A3714163-7465-460C-B689-F1432FA66DF2}"/>
    <dgm:cxn modelId="{8C714905-7576-4B2D-97CF-4B4157564734}" srcId="{FD8CB35D-9AA8-4D3B-85BD-0C98676B30A3}" destId="{57D3AE1B-73A5-48A4-9A09-1A300CDA4E8B}" srcOrd="1" destOrd="0" parTransId="{4F68B22E-2095-4F18-948D-3D45345C9EBD}" sibTransId="{9AF49E6B-4C65-4948-8F33-6E992478EDEF}"/>
    <dgm:cxn modelId="{E39D2092-86B5-4605-A89B-5A4845451C08}" srcId="{57D3AE1B-73A5-48A4-9A09-1A300CDA4E8B}" destId="{31715DCE-1033-4F51-AA7E-996A37078C2B}" srcOrd="0" destOrd="0" parTransId="{B39B534A-E900-4C50-9B97-9FA90BE57A88}" sibTransId="{F9E991BD-6677-4EFD-8A6E-9B02290356F4}"/>
    <dgm:cxn modelId="{50429F9F-6F0C-4C63-8489-22F7BB16BA3C}" type="presParOf" srcId="{1A704293-4A00-4269-9793-84EF60BB46E7}" destId="{A4C70CCE-E506-430D-8CE9-E3F0C822F8C1}" srcOrd="0" destOrd="0" presId="urn:microsoft.com/office/officeart/2008/layout/CircleAccentTimeline"/>
    <dgm:cxn modelId="{1183E6F4-66B0-4971-8C16-FEA2663E327E}" type="presParOf" srcId="{A4C70CCE-E506-430D-8CE9-E3F0C822F8C1}" destId="{56AEF2CF-BD74-47E9-9224-4EAC05CF5B8D}" srcOrd="0" destOrd="0" presId="urn:microsoft.com/office/officeart/2008/layout/CircleAccentTimeline"/>
    <dgm:cxn modelId="{8FCAEBC8-D6DC-4B1A-829A-12259A82F1FB}" type="presParOf" srcId="{A4C70CCE-E506-430D-8CE9-E3F0C822F8C1}" destId="{6F73384A-DB24-4E9B-9313-3EFB3DDE8577}" srcOrd="1" destOrd="0" presId="urn:microsoft.com/office/officeart/2008/layout/CircleAccentTimeline"/>
    <dgm:cxn modelId="{44E0682C-9A56-48A2-B1DD-0A43E6D12D91}" type="presParOf" srcId="{A4C70CCE-E506-430D-8CE9-E3F0C822F8C1}" destId="{12B297DC-E2BD-43F9-AB76-F334910D5A94}" srcOrd="2" destOrd="0" presId="urn:microsoft.com/office/officeart/2008/layout/CircleAccentTimeline"/>
    <dgm:cxn modelId="{7A6A0415-C2E2-4211-889F-0A74F20E6217}" type="presParOf" srcId="{1A704293-4A00-4269-9793-84EF60BB46E7}" destId="{C054349A-9079-4978-A10C-80B4000B73E6}" srcOrd="1" destOrd="0" presId="urn:microsoft.com/office/officeart/2008/layout/CircleAccentTimeline"/>
    <dgm:cxn modelId="{B2736723-F6CA-4338-8508-EDD8ED16ABC7}" type="presParOf" srcId="{1A704293-4A00-4269-9793-84EF60BB46E7}" destId="{24C5703B-3128-468D-93D7-5B64EFF7DC5D}" srcOrd="2" destOrd="0" presId="urn:microsoft.com/office/officeart/2008/layout/CircleAccentTimeline"/>
    <dgm:cxn modelId="{F75A2C69-08F3-4E0A-965A-FA2AD92F65D0}" type="presParOf" srcId="{1A704293-4A00-4269-9793-84EF60BB46E7}" destId="{F5F5C2A5-CD2A-4BF3-9E7D-9CC3E927F990}" srcOrd="3" destOrd="0" presId="urn:microsoft.com/office/officeart/2008/layout/CircleAccentTimeline"/>
    <dgm:cxn modelId="{F72636EF-D3F4-4C50-84B3-CF6587C310D0}" type="presParOf" srcId="{1A704293-4A00-4269-9793-84EF60BB46E7}" destId="{00904F4D-D009-481C-BDD7-C81BF30DD670}" srcOrd="4" destOrd="0" presId="urn:microsoft.com/office/officeart/2008/layout/CircleAccentTimeline"/>
    <dgm:cxn modelId="{3196C0B1-99BA-40AA-B842-2BCB12CD6094}" type="presParOf" srcId="{00904F4D-D009-481C-BDD7-C81BF30DD670}" destId="{46B25F0D-D431-4949-81A0-676174D34183}" srcOrd="0" destOrd="0" presId="urn:microsoft.com/office/officeart/2008/layout/CircleAccentTimeline"/>
    <dgm:cxn modelId="{F609B8E2-71D4-4162-AEA5-DFEDB4184DE9}" type="presParOf" srcId="{00904F4D-D009-481C-BDD7-C81BF30DD670}" destId="{593E5578-D846-4CF3-A9D5-73E453066575}" srcOrd="1" destOrd="0" presId="urn:microsoft.com/office/officeart/2008/layout/CircleAccentTimeline"/>
    <dgm:cxn modelId="{79B6BCB9-F36C-4B82-BF3C-85A067DE3602}" type="presParOf" srcId="{00904F4D-D009-481C-BDD7-C81BF30DD670}" destId="{A1AA65C6-9A13-4697-920B-109CDD4DDA94}" srcOrd="2" destOrd="0" presId="urn:microsoft.com/office/officeart/2008/layout/CircleAccentTimeline"/>
    <dgm:cxn modelId="{2CC272D4-D3F9-40EA-B773-A3B9333C6C61}" type="presParOf" srcId="{1A704293-4A00-4269-9793-84EF60BB46E7}" destId="{6E357F85-05B6-4B53-9066-7FB07E9EAA3E}" srcOrd="5" destOrd="0" presId="urn:microsoft.com/office/officeart/2008/layout/CircleAccentTimeline"/>
    <dgm:cxn modelId="{84C602CD-8400-43D9-854F-4C723F478A37}" type="presParOf" srcId="{1A704293-4A00-4269-9793-84EF60BB46E7}" destId="{387B4C12-958B-44D9-A807-6D6D9A880085}" srcOrd="6" destOrd="0" presId="urn:microsoft.com/office/officeart/2008/layout/CircleAccentTimeline"/>
    <dgm:cxn modelId="{CBC85DFE-005D-4AEB-AF1F-2345B5384043}" type="presParOf" srcId="{1A704293-4A00-4269-9793-84EF60BB46E7}" destId="{84CCE456-9A31-4DEE-BAB7-3AAB4DB7BF78}" srcOrd="7" destOrd="0" presId="urn:microsoft.com/office/officeart/2008/layout/CircleAccentTimeline"/>
    <dgm:cxn modelId="{439B0B5D-3439-40AB-B95A-86A85EA11AD9}" type="presParOf" srcId="{1A704293-4A00-4269-9793-84EF60BB46E7}" destId="{DC73377C-628A-4405-9964-724C2189D1E3}" srcOrd="8" destOrd="0" presId="urn:microsoft.com/office/officeart/2008/layout/CircleAccentTimeline"/>
    <dgm:cxn modelId="{7C65BF7F-3F3E-40DA-A0CC-76A8AE041B4F}" type="presParOf" srcId="{DC73377C-628A-4405-9964-724C2189D1E3}" destId="{3FC968D4-1463-4BB8-8E4F-74B77036556E}" srcOrd="0" destOrd="0" presId="urn:microsoft.com/office/officeart/2008/layout/CircleAccentTimeline"/>
    <dgm:cxn modelId="{8B952987-2A29-4D21-B3C3-6F01175040CC}" type="presParOf" srcId="{DC73377C-628A-4405-9964-724C2189D1E3}" destId="{02CA001B-E24E-4625-8CFA-1A6C755C930E}" srcOrd="1" destOrd="0" presId="urn:microsoft.com/office/officeart/2008/layout/CircleAccentTimeline"/>
    <dgm:cxn modelId="{B8C2B84A-F685-46A8-BA1A-94BD79A5A050}" type="presParOf" srcId="{DC73377C-628A-4405-9964-724C2189D1E3}" destId="{E0FD4796-E7AB-488D-9336-DB3CCBEFE335}" srcOrd="2" destOrd="0" presId="urn:microsoft.com/office/officeart/2008/layout/CircleAccentTimeline"/>
    <dgm:cxn modelId="{D0D2B5BF-FAD0-472D-AB03-CD2D18605554}" type="presParOf" srcId="{1A704293-4A00-4269-9793-84EF60BB46E7}" destId="{AE72B25E-0A65-488B-9C29-B1D763436A57}" srcOrd="9" destOrd="0" presId="urn:microsoft.com/office/officeart/2008/layout/CircleAccentTimeline"/>
    <dgm:cxn modelId="{6AB1BE65-A21A-43D9-8E3F-AE0C3DFF436C}" type="presParOf" srcId="{1A704293-4A00-4269-9793-84EF60BB46E7}" destId="{341DCFA4-81F2-46C5-B89F-D9D6359A3202}" srcOrd="10" destOrd="0" presId="urn:microsoft.com/office/officeart/2008/layout/CircleAccentTimeline"/>
    <dgm:cxn modelId="{FABD3A59-95FA-4F7A-AD68-455B58C2838A}" type="presParOf" srcId="{1A704293-4A00-4269-9793-84EF60BB46E7}" destId="{B5ECE69A-1709-46E5-B808-E420C4621320}" srcOrd="11" destOrd="0" presId="urn:microsoft.com/office/officeart/2008/layout/CircleAccentTimeline"/>
    <dgm:cxn modelId="{0F0ED269-D52B-4830-B282-DEDE48CF97D7}" type="presParOf" srcId="{1A704293-4A00-4269-9793-84EF60BB46E7}" destId="{61EE79E8-884E-4AB3-BBC9-A66BAE573D68}" srcOrd="12" destOrd="0" presId="urn:microsoft.com/office/officeart/2008/layout/CircleAccentTimeline"/>
    <dgm:cxn modelId="{C819D9D4-64B8-44F8-9EB9-5DECAFF7F4EF}" type="presParOf" srcId="{61EE79E8-884E-4AB3-BBC9-A66BAE573D68}" destId="{40C4B2F5-DDA6-41E2-B2AF-97E4F39909E6}" srcOrd="0" destOrd="0" presId="urn:microsoft.com/office/officeart/2008/layout/CircleAccentTimeline"/>
    <dgm:cxn modelId="{4A53E4B2-4E4B-4520-A4EA-C4C585B97EF8}" type="presParOf" srcId="{61EE79E8-884E-4AB3-BBC9-A66BAE573D68}" destId="{F56B5539-3C77-47E1-8754-B43314A96F14}" srcOrd="1" destOrd="0" presId="urn:microsoft.com/office/officeart/2008/layout/CircleAccentTimeline"/>
    <dgm:cxn modelId="{A139B883-28C7-44B4-B458-F2328927EAD1}" type="presParOf" srcId="{61EE79E8-884E-4AB3-BBC9-A66BAE573D68}" destId="{0566B732-D545-48BE-881E-52A791DA4ABA}" srcOrd="2" destOrd="0" presId="urn:microsoft.com/office/officeart/2008/layout/CircleAccentTimeline"/>
    <dgm:cxn modelId="{500D714C-29CC-41C9-AAE8-9CD3366AC178}" type="presParOf" srcId="{1A704293-4A00-4269-9793-84EF60BB46E7}" destId="{8B6973B3-817C-49CE-93D5-F952D3681F10}" srcOrd="13" destOrd="0" presId="urn:microsoft.com/office/officeart/2008/layout/CircleAccentTimeline"/>
    <dgm:cxn modelId="{DD4B2FBC-57B4-4784-827D-D2DE2F6DF5B7}" type="presParOf" srcId="{1A704293-4A00-4269-9793-84EF60BB46E7}" destId="{0E1C1D2A-502D-48CE-AEC8-7488D876E2ED}" srcOrd="14" destOrd="0" presId="urn:microsoft.com/office/officeart/2008/layout/CircleAccentTimeline"/>
    <dgm:cxn modelId="{0845D40A-5C6A-426C-BD1E-D9138060F53E}" type="presParOf" srcId="{1A704293-4A00-4269-9793-84EF60BB46E7}" destId="{8345B538-0022-4B22-9389-B3EE7408EE47}" srcOrd="15" destOrd="0" presId="urn:microsoft.com/office/officeart/2008/layout/CircleAccentTimeline"/>
    <dgm:cxn modelId="{02EB9435-C3FF-4D13-939E-9EB1E745E542}" type="presParOf" srcId="{1A704293-4A00-4269-9793-84EF60BB46E7}" destId="{2BBC5C49-B074-47C7-A786-478601038476}" srcOrd="16" destOrd="0" presId="urn:microsoft.com/office/officeart/2008/layout/CircleAccentTimeline"/>
    <dgm:cxn modelId="{46F1F3AA-1FEB-4CB1-84F2-7B59A7999AD3}" type="presParOf" srcId="{2BBC5C49-B074-47C7-A786-478601038476}" destId="{B88A808A-6D31-491D-BE3F-A489F02F644F}" srcOrd="0" destOrd="0" presId="urn:microsoft.com/office/officeart/2008/layout/CircleAccentTimeline"/>
    <dgm:cxn modelId="{4919BDEB-F0D6-4D70-9791-F965F199E8B1}" type="presParOf" srcId="{2BBC5C49-B074-47C7-A786-478601038476}" destId="{33385588-CEE7-4921-86D6-5DB56F25733B}" srcOrd="1" destOrd="0" presId="urn:microsoft.com/office/officeart/2008/layout/CircleAccentTimeline"/>
    <dgm:cxn modelId="{255BBC40-6BBC-4FFC-B4F8-0BCAF1C3D4B4}" type="presParOf" srcId="{2BBC5C49-B074-47C7-A786-478601038476}" destId="{9E2EB3AE-AB40-4FF6-81BC-67DD2E149D07}" srcOrd="2" destOrd="0" presId="urn:microsoft.com/office/officeart/2008/layout/CircleAccentTimeline"/>
    <dgm:cxn modelId="{769924F3-B232-433C-8980-62585F4BADB1}" type="presParOf" srcId="{1A704293-4A00-4269-9793-84EF60BB46E7}" destId="{BD61E05B-478D-41B8-B2B8-AAB50A97C38B}" srcOrd="17" destOrd="0" presId="urn:microsoft.com/office/officeart/2008/layout/CircleAccentTimeline"/>
    <dgm:cxn modelId="{D3375417-A14A-411B-B94B-3DF066CF3CF3}" type="presParOf" srcId="{1A704293-4A00-4269-9793-84EF60BB46E7}" destId="{43353E85-5B6E-4CE7-A593-7F5D44BA6D4D}" srcOrd="18" destOrd="0" presId="urn:microsoft.com/office/officeart/2008/layout/CircleAccentTimeline"/>
    <dgm:cxn modelId="{CFBDEBC9-7AC2-41D3-96C5-BE4B52B84796}" type="presParOf" srcId="{1A704293-4A00-4269-9793-84EF60BB46E7}" destId="{7803BCF7-F0D7-4B1D-A3EF-8292C734420A}" srcOrd="19" destOrd="0" presId="urn:microsoft.com/office/officeart/2008/layout/CircleAccentTimeline"/>
    <dgm:cxn modelId="{ACE475DA-BBDC-478B-B42D-1C1F33F630FC}" type="presParOf" srcId="{7803BCF7-F0D7-4B1D-A3EF-8292C734420A}" destId="{F87B6F15-59C6-4659-B141-44CA8308F192}" srcOrd="0" destOrd="0" presId="urn:microsoft.com/office/officeart/2008/layout/CircleAccentTimeline"/>
    <dgm:cxn modelId="{146AEF34-9980-4C95-8B8F-096B55E3204A}" type="presParOf" srcId="{7803BCF7-F0D7-4B1D-A3EF-8292C734420A}" destId="{3EDE9DD2-3243-430B-BFDF-DB42C8C39F0F}" srcOrd="1" destOrd="0" presId="urn:microsoft.com/office/officeart/2008/layout/CircleAccentTimeline"/>
    <dgm:cxn modelId="{A39F4657-59C1-4B38-99E8-F0FCC3B6AE00}" type="presParOf" srcId="{7803BCF7-F0D7-4B1D-A3EF-8292C734420A}" destId="{54070C43-6009-4E1C-BA92-33271047321C}" srcOrd="2" destOrd="0" presId="urn:microsoft.com/office/officeart/2008/layout/CircleAccentTimeline"/>
    <dgm:cxn modelId="{20360CF2-521A-44FA-A300-57198EEF30A4}" type="presParOf" srcId="{1A704293-4A00-4269-9793-84EF60BB46E7}" destId="{7F10A9E6-0663-41C6-93C4-F47FB7BD746A}" srcOrd="20" destOrd="0" presId="urn:microsoft.com/office/officeart/2008/layout/CircleAccentTimeline"/>
    <dgm:cxn modelId="{54DAC63B-D328-4A65-94B1-CF175F83DCB0}" type="presParOf" srcId="{1A704293-4A00-4269-9793-84EF60BB46E7}" destId="{77DCCE78-72A1-491E-BC8D-F3AF5E37D4A8}" srcOrd="21" destOrd="0" presId="urn:microsoft.com/office/officeart/2008/layout/CircleAccentTimeline"/>
    <dgm:cxn modelId="{180D3DBE-574D-4B7F-9C78-4836029B02EF}" type="presParOf" srcId="{1A704293-4A00-4269-9793-84EF60BB46E7}" destId="{C74E053A-3AC0-4730-9A92-0F2249A35D8A}" srcOrd="22" destOrd="0" presId="urn:microsoft.com/office/officeart/2008/layout/CircleAccentTimeline"/>
    <dgm:cxn modelId="{F408D16B-6E8B-4F86-BEF9-3B11767F0FBD}" type="presParOf" srcId="{1A704293-4A00-4269-9793-84EF60BB46E7}" destId="{42921E3A-CF41-49D9-A8B2-F862DACD1455}" srcOrd="23" destOrd="0" presId="urn:microsoft.com/office/officeart/2008/layout/CircleAccentTimeline"/>
    <dgm:cxn modelId="{00416E0A-E230-4F59-8C89-19EB8C663BD3}" type="presParOf" srcId="{42921E3A-CF41-49D9-A8B2-F862DACD1455}" destId="{8DBDFD54-FA06-4E78-B1F9-B5C24B106AA5}" srcOrd="0" destOrd="0" presId="urn:microsoft.com/office/officeart/2008/layout/CircleAccentTimeline"/>
    <dgm:cxn modelId="{0A25FC7E-9C7F-4A42-BA5F-103A5B2528BA}" type="presParOf" srcId="{42921E3A-CF41-49D9-A8B2-F862DACD1455}" destId="{EB6A5027-8CC0-4067-8103-7E8095435049}" srcOrd="1" destOrd="0" presId="urn:microsoft.com/office/officeart/2008/layout/CircleAccentTimeline"/>
    <dgm:cxn modelId="{4ACE674B-C0FE-4BB4-9BD2-3B69DDF24E8E}" type="presParOf" srcId="{42921E3A-CF41-49D9-A8B2-F862DACD1455}" destId="{B8523729-5ED9-4781-9993-ED44EE714E76}" srcOrd="2" destOrd="0" presId="urn:microsoft.com/office/officeart/2008/layout/CircleAccentTimeline"/>
    <dgm:cxn modelId="{3D1D6F33-0409-41CE-9766-BFAF89DB1452}" type="presParOf" srcId="{1A704293-4A00-4269-9793-84EF60BB46E7}" destId="{2157E965-1A58-4647-B54C-41301E78F91D}" srcOrd="24" destOrd="0" presId="urn:microsoft.com/office/officeart/2008/layout/CircleAccentTimeline"/>
    <dgm:cxn modelId="{5373614C-9A0E-4B52-BF7B-9593FA61C51D}" type="presParOf" srcId="{1A704293-4A00-4269-9793-84EF60BB46E7}" destId="{2CE77E30-7D1E-4313-BA7A-72425E4B9296}" srcOrd="25" destOrd="0" presId="urn:microsoft.com/office/officeart/2008/layout/CircleAccentTimeline"/>
    <dgm:cxn modelId="{DBE7A0C2-86A5-40F1-ABDB-B22C9A9ACE1E}" type="presParOf" srcId="{1A704293-4A00-4269-9793-84EF60BB46E7}" destId="{C01DFA6D-43E5-4429-A9B3-E2886C2B08AB}" srcOrd="26" destOrd="0" presId="urn:microsoft.com/office/officeart/2008/layout/CircleAccentTimeline"/>
    <dgm:cxn modelId="{43EF37E3-7626-409F-A4B8-9F4DA5F34D44}" type="presParOf" srcId="{1A704293-4A00-4269-9793-84EF60BB46E7}" destId="{7679D52D-7B5F-4A0F-9F3A-A6C3FF6AA255}" srcOrd="27" destOrd="0" presId="urn:microsoft.com/office/officeart/2008/layout/CircleAccentTimeline"/>
    <dgm:cxn modelId="{534498BE-A6B0-4B66-83C3-754DF3FEC79D}" type="presParOf" srcId="{7679D52D-7B5F-4A0F-9F3A-A6C3FF6AA255}" destId="{98F6187D-F3FF-4676-8B83-7A42AA5EA52A}" srcOrd="0" destOrd="0" presId="urn:microsoft.com/office/officeart/2008/layout/CircleAccentTimeline"/>
    <dgm:cxn modelId="{C24AD78B-68B1-4ACF-817A-4CAC0BA8F27F}" type="presParOf" srcId="{7679D52D-7B5F-4A0F-9F3A-A6C3FF6AA255}" destId="{BF4020F7-F215-45CC-8770-28C12A152C49}" srcOrd="1" destOrd="0" presId="urn:microsoft.com/office/officeart/2008/layout/CircleAccentTimeline"/>
    <dgm:cxn modelId="{14066CF6-C66B-4D29-B6F8-2CC6A2156E83}" type="presParOf" srcId="{7679D52D-7B5F-4A0F-9F3A-A6C3FF6AA255}" destId="{9D3D5B97-3DE5-4600-B2D0-2F52A3508BAB}" srcOrd="2" destOrd="0" presId="urn:microsoft.com/office/officeart/2008/layout/CircleAccentTimeline"/>
    <dgm:cxn modelId="{1783D2AB-E1D4-4FF4-8ADE-774789BECC89}" type="presParOf" srcId="{1A704293-4A00-4269-9793-84EF60BB46E7}" destId="{AAA258DE-25B0-4EEC-AE45-3BD52C790DDE}" srcOrd="28" destOrd="0" presId="urn:microsoft.com/office/officeart/2008/layout/CircleAccentTimeline"/>
    <dgm:cxn modelId="{11F0B4BB-E0E7-414A-B1DD-82CD59DED12D}" type="presParOf" srcId="{1A704293-4A00-4269-9793-84EF60BB46E7}" destId="{73CBFFD3-6A7B-4D17-8702-83FFF281EEA4}" srcOrd="29" destOrd="0" presId="urn:microsoft.com/office/officeart/2008/layout/CircleAccentTimeline"/>
    <dgm:cxn modelId="{0162DA7A-A68C-4E78-9456-89E52D1EDC40}" type="presParOf" srcId="{1A704293-4A00-4269-9793-84EF60BB46E7}" destId="{AF334E5A-D793-4FA0-A5C5-0D5AA4768030}" srcOrd="30" destOrd="0" presId="urn:microsoft.com/office/officeart/2008/layout/CircleAccentTimeline"/>
    <dgm:cxn modelId="{2B7268B3-85DA-4A6E-8290-F2780DA41461}" type="presParOf" srcId="{1A704293-4A00-4269-9793-84EF60BB46E7}" destId="{52773FDC-4772-4F97-BC48-7D43FDF59697}" srcOrd="31" destOrd="0" presId="urn:microsoft.com/office/officeart/2008/layout/CircleAccentTimeline"/>
    <dgm:cxn modelId="{1C4B8D00-C1C3-4D39-9ECF-481387CAC119}" type="presParOf" srcId="{52773FDC-4772-4F97-BC48-7D43FDF59697}" destId="{285EB5AC-902D-472C-844D-916AF60547E4}" srcOrd="0" destOrd="0" presId="urn:microsoft.com/office/officeart/2008/layout/CircleAccentTimeline"/>
    <dgm:cxn modelId="{ABAEFEEC-F3EA-4D26-AA9A-58A9C3C24DFD}" type="presParOf" srcId="{52773FDC-4772-4F97-BC48-7D43FDF59697}" destId="{8CA68C6F-E3B6-46A7-A9B1-B780AB0310AB}" srcOrd="1" destOrd="0" presId="urn:microsoft.com/office/officeart/2008/layout/CircleAccentTimeline"/>
    <dgm:cxn modelId="{0E3F6F1B-063F-440C-B6CA-366C721ACDCF}" type="presParOf" srcId="{52773FDC-4772-4F97-BC48-7D43FDF59697}" destId="{2BF1D30D-A645-461B-8B53-6D37647F8F3F}" srcOrd="2" destOrd="0" presId="urn:microsoft.com/office/officeart/2008/layout/CircleAccentTimeline"/>
    <dgm:cxn modelId="{297FCCF5-7EB8-45F9-808E-3E5866EB2C7C}" type="presParOf" srcId="{1A704293-4A00-4269-9793-84EF60BB46E7}" destId="{62DE114B-FE75-4C07-93B2-1FFC0F4EA50E}" srcOrd="32" destOrd="0" presId="urn:microsoft.com/office/officeart/2008/layout/CircleAccentTimeline"/>
    <dgm:cxn modelId="{83F54F33-5782-48D4-959D-6ACA976775ED}" type="presParOf" srcId="{1A704293-4A00-4269-9793-84EF60BB46E7}" destId="{EACB1369-3186-4D39-944D-48FC110BAFF2}" srcOrd="33" destOrd="0" presId="urn:microsoft.com/office/officeart/2008/layout/CircleAccentTimeline"/>
    <dgm:cxn modelId="{AB325F4C-7583-423D-8689-ECAC1BAD0C64}" type="presParOf" srcId="{1A704293-4A00-4269-9793-84EF60BB46E7}" destId="{514ACA26-0E7A-4799-8323-8E78A018FE1A}" srcOrd="34" destOrd="0" presId="urn:microsoft.com/office/officeart/2008/layout/CircleAccentTimeline"/>
    <dgm:cxn modelId="{38FF1954-AF98-4F83-A6DA-EE449703E1CE}" type="presParOf" srcId="{1A704293-4A00-4269-9793-84EF60BB46E7}" destId="{5A25D132-820E-44C3-AAA4-0E752E0B8155}" srcOrd="35" destOrd="0" presId="urn:microsoft.com/office/officeart/2008/layout/CircleAccentTimeline"/>
    <dgm:cxn modelId="{CF02D664-E11C-4C5F-8050-0ADD1ACB6670}" type="presParOf" srcId="{5A25D132-820E-44C3-AAA4-0E752E0B8155}" destId="{B554C5DC-DEEA-4AE2-942F-B531DCD6A4BC}" srcOrd="0" destOrd="0" presId="urn:microsoft.com/office/officeart/2008/layout/CircleAccentTimeline"/>
    <dgm:cxn modelId="{DBDBB915-21CC-4869-8594-155B88064D72}" type="presParOf" srcId="{5A25D132-820E-44C3-AAA4-0E752E0B8155}" destId="{D0E61BE3-08C2-42D5-B308-61E0BFDF64D4}" srcOrd="1" destOrd="0" presId="urn:microsoft.com/office/officeart/2008/layout/CircleAccentTimeline"/>
    <dgm:cxn modelId="{A2C970B6-B677-44EF-A888-5A11A7349742}" type="presParOf" srcId="{5A25D132-820E-44C3-AAA4-0E752E0B8155}" destId="{0B76364A-724C-4D60-B742-8B2007D3D83F}" srcOrd="2" destOrd="0" presId="urn:microsoft.com/office/officeart/2008/layout/CircleAccentTimeline"/>
    <dgm:cxn modelId="{02E7A655-F1B4-42FD-BB26-D42C7BB7B72A}" type="presParOf" srcId="{1A704293-4A00-4269-9793-84EF60BB46E7}" destId="{9F886749-129F-4F94-8FDC-026B682698D1}" srcOrd="36" destOrd="0" presId="urn:microsoft.com/office/officeart/2008/layout/CircleAccentTimeline"/>
    <dgm:cxn modelId="{5AFDD4E3-DD46-450F-9256-01F3033C3CFE}" type="presParOf" srcId="{1A704293-4A00-4269-9793-84EF60BB46E7}" destId="{AA708E94-3504-4DF0-823F-FB4565134AB9}" srcOrd="37" destOrd="0" presId="urn:microsoft.com/office/officeart/2008/layout/CircleAccentTimeline"/>
    <dgm:cxn modelId="{C82B2403-1D45-48CF-9DBD-611E1D1CFB09}" type="presParOf" srcId="{1A704293-4A00-4269-9793-84EF60BB46E7}" destId="{72A47222-7749-4661-A2AF-8C4E7D69F1FD}" srcOrd="38" destOrd="0" presId="urn:microsoft.com/office/officeart/2008/layout/CircleAccentTimeline"/>
    <dgm:cxn modelId="{5ED406D5-DA03-4483-A46A-FED51436CFEF}" type="presParOf" srcId="{1A704293-4A00-4269-9793-84EF60BB46E7}" destId="{60290D84-22F4-40D2-838C-4E1970F94875}" srcOrd="39" destOrd="0" presId="urn:microsoft.com/office/officeart/2008/layout/CircleAccentTimeline"/>
    <dgm:cxn modelId="{0D86BB39-81F8-43F2-BB23-39A8F8F1C837}" type="presParOf" srcId="{60290D84-22F4-40D2-838C-4E1970F94875}" destId="{17B6CC0B-51B2-49F4-99D4-5638832F0DB8}" srcOrd="0" destOrd="0" presId="urn:microsoft.com/office/officeart/2008/layout/CircleAccentTimeline"/>
    <dgm:cxn modelId="{EE6FD556-99E9-499E-9723-608CBA1B5E53}" type="presParOf" srcId="{60290D84-22F4-40D2-838C-4E1970F94875}" destId="{D911B9EF-06FF-4EFF-B38F-46F7111F856E}" srcOrd="1" destOrd="0" presId="urn:microsoft.com/office/officeart/2008/layout/CircleAccentTimeline"/>
    <dgm:cxn modelId="{9490BD51-0365-4376-A051-D9684F81F6A3}" type="presParOf" srcId="{60290D84-22F4-40D2-838C-4E1970F94875}" destId="{9F22E223-C03C-4A17-985E-B8945A116FFF}" srcOrd="2" destOrd="0" presId="urn:microsoft.com/office/officeart/2008/layout/CircleAccentTimeline"/>
    <dgm:cxn modelId="{22FA1965-D2A5-48D7-A8F8-9BADD0209C2B}" type="presParOf" srcId="{1A704293-4A00-4269-9793-84EF60BB46E7}" destId="{98EB0A87-90C1-4AE9-8C2B-E508EB9E09A0}" srcOrd="40" destOrd="0" presId="urn:microsoft.com/office/officeart/2008/layout/CircleAccentTimeline"/>
    <dgm:cxn modelId="{083EFC64-F8E2-4BC3-8DB2-CDC642F0AD26}" type="presParOf" srcId="{1A704293-4A00-4269-9793-84EF60BB46E7}" destId="{6785AC24-B12F-4FBA-A2E1-E2791399D68A}" srcOrd="41" destOrd="0" presId="urn:microsoft.com/office/officeart/2008/layout/CircleAccentTimeline"/>
    <dgm:cxn modelId="{13A76548-CF3A-410B-A453-84DF072F64A0}" type="presParOf" srcId="{1A704293-4A00-4269-9793-84EF60BB46E7}" destId="{8B9717E1-B194-4E1F-AD43-F6D9913B20D9}" srcOrd="42" destOrd="0" presId="urn:microsoft.com/office/officeart/2008/layout/CircleAccentTimeline"/>
    <dgm:cxn modelId="{3AB59D3D-E029-4EDB-B8E8-2B6014561192}" type="presParOf" srcId="{1A704293-4A00-4269-9793-84EF60BB46E7}" destId="{38DB3036-1B7A-4FA4-BA20-6BD0F5F3ACC6}" srcOrd="43" destOrd="0" presId="urn:microsoft.com/office/officeart/2008/layout/CircleAccentTimeline"/>
    <dgm:cxn modelId="{180C26EB-E118-4ABC-9C16-09694AB15F1E}" type="presParOf" srcId="{38DB3036-1B7A-4FA4-BA20-6BD0F5F3ACC6}" destId="{D51BFFF2-4320-4695-A3BB-35020D09811E}" srcOrd="0" destOrd="0" presId="urn:microsoft.com/office/officeart/2008/layout/CircleAccentTimeline"/>
    <dgm:cxn modelId="{1F4122CF-4A55-4E3F-9652-52B4E5A15F53}" type="presParOf" srcId="{38DB3036-1B7A-4FA4-BA20-6BD0F5F3ACC6}" destId="{6467B0E9-04E2-44A1-8F25-6FA6F36F33B1}" srcOrd="1" destOrd="0" presId="urn:microsoft.com/office/officeart/2008/layout/CircleAccentTimeline"/>
    <dgm:cxn modelId="{32FF55E5-4632-4B04-9450-7C7794BB3983}" type="presParOf" srcId="{38DB3036-1B7A-4FA4-BA20-6BD0F5F3ACC6}" destId="{BD4CC4AC-B4AD-4C64-819F-6D2E8601042C}" srcOrd="2" destOrd="0" presId="urn:microsoft.com/office/officeart/2008/layout/CircleAccentTimeline"/>
    <dgm:cxn modelId="{BCBB2F55-279B-4D4B-830E-B36A314E520F}" type="presParOf" srcId="{1A704293-4A00-4269-9793-84EF60BB46E7}" destId="{71D3FCE5-CB84-40A1-BF7B-4B6E47785EA7}" srcOrd="44" destOrd="0" presId="urn:microsoft.com/office/officeart/2008/layout/CircleAccentTimeline"/>
    <dgm:cxn modelId="{DE1CCBCE-4EBA-4BCC-9561-50DE26D5E2AF}" type="presParOf" srcId="{1A704293-4A00-4269-9793-84EF60BB46E7}" destId="{F93B194F-43C5-4B38-A4C0-5BF32D52ED05}" srcOrd="45" destOrd="0" presId="urn:microsoft.com/office/officeart/2008/layout/CircleAccentTimeline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2C8004B-A441-4F06-B14F-E6072A253398}" type="doc">
      <dgm:prSet loTypeId="urn:microsoft.com/office/officeart/2005/8/layout/chevron1" loCatId="process" qsTypeId="urn:microsoft.com/office/officeart/2005/8/quickstyle/simple1" qsCatId="simple" csTypeId="urn:microsoft.com/office/officeart/2005/8/colors/accent6_5" csCatId="accent6" phldr="1"/>
      <dgm:spPr/>
    </dgm:pt>
    <dgm:pt modelId="{A5C9D6BD-7705-41D0-896B-39382DEF9DA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2017</a:t>
          </a:r>
          <a:endParaRPr lang="pt-BR" dirty="0">
            <a:latin typeface="Simplon BP Regular" pitchFamily="2" charset="0"/>
          </a:endParaRPr>
        </a:p>
      </dgm:t>
    </dgm:pt>
    <dgm:pt modelId="{04DBB520-D8EC-410B-A08F-9E574DD82296}" type="par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28B3D7F-DFCE-4E77-8F1C-7B042500BAEF}" type="sib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C6DE7D9-FFFB-4048-A63C-05CB70202A8D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2018 [dias das mães]</a:t>
          </a:r>
          <a:endParaRPr lang="pt-BR" dirty="0">
            <a:latin typeface="Simplon BP Regular" pitchFamily="2" charset="0"/>
          </a:endParaRPr>
        </a:p>
      </dgm:t>
    </dgm:pt>
    <dgm:pt modelId="{00571E69-0253-4D2C-8C3E-A4B850FAE6D3}" type="par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87372C84-E1D2-46B0-A14E-6954F848ADF5}" type="sib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A45A92D2-858E-4F1C-A841-FCC41F6BAE18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2018</a:t>
          </a:r>
          <a:endParaRPr lang="pt-BR" dirty="0">
            <a:latin typeface="Simplon BP Regular" pitchFamily="2" charset="0"/>
          </a:endParaRPr>
        </a:p>
      </dgm:t>
    </dgm:pt>
    <dgm:pt modelId="{42E80D9D-55B0-4802-A0E5-4D02CF358B20}" type="parTrans" cxnId="{93AA97E0-DDA1-409D-A408-BE2D9768E2FD}">
      <dgm:prSet/>
      <dgm:spPr/>
      <dgm:t>
        <a:bodyPr/>
        <a:lstStyle/>
        <a:p>
          <a:endParaRPr lang="pt-BR"/>
        </a:p>
      </dgm:t>
    </dgm:pt>
    <dgm:pt modelId="{8BB256DD-2F5D-437A-B315-5C0A529645DA}" type="sibTrans" cxnId="{93AA97E0-DDA1-409D-A408-BE2D9768E2FD}">
      <dgm:prSet/>
      <dgm:spPr/>
      <dgm:t>
        <a:bodyPr/>
        <a:lstStyle/>
        <a:p>
          <a:endParaRPr lang="pt-BR"/>
        </a:p>
      </dgm:t>
    </dgm:pt>
    <dgm:pt modelId="{3014A0A9-B888-44B6-87FD-3FA34B8C82C9}" type="pres">
      <dgm:prSet presAssocID="{22C8004B-A441-4F06-B14F-E6072A253398}" presName="Name0" presStyleCnt="0">
        <dgm:presLayoutVars>
          <dgm:dir/>
          <dgm:animLvl val="lvl"/>
          <dgm:resizeHandles val="exact"/>
        </dgm:presLayoutVars>
      </dgm:prSet>
      <dgm:spPr/>
    </dgm:pt>
    <dgm:pt modelId="{186D22AC-C516-4D8C-AE22-0C650918D950}" type="pres">
      <dgm:prSet presAssocID="{A5C9D6BD-7705-41D0-896B-39382DEF9DAB}" presName="parTxOnly" presStyleLbl="node1" presStyleIdx="0" presStyleCnt="3" custScaleX="108439" custLinFactNeighborY="273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7E3C63A-3CC1-478C-B991-43B301263277}" type="pres">
      <dgm:prSet presAssocID="{F28B3D7F-DFCE-4E77-8F1C-7B042500BAEF}" presName="parTxOnlySpace" presStyleCnt="0"/>
      <dgm:spPr/>
    </dgm:pt>
    <dgm:pt modelId="{0550EBE2-3CC1-4770-9B02-DDFB5E793DEB}" type="pres">
      <dgm:prSet presAssocID="{CC6DE7D9-FFFB-4048-A63C-05CB70202A8D}" presName="parTxOnly" presStyleLbl="node1" presStyleIdx="1" presStyleCnt="3" custScaleX="141360" custLinFactNeighborY="312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3CCB8427-421B-4A76-8C0F-E1F61CFFE741}" type="pres">
      <dgm:prSet presAssocID="{87372C84-E1D2-46B0-A14E-6954F848ADF5}" presName="parTxOnlySpace" presStyleCnt="0"/>
      <dgm:spPr/>
    </dgm:pt>
    <dgm:pt modelId="{BCA014BD-C38E-46FF-A29D-BD8B511B1E5E}" type="pres">
      <dgm:prSet presAssocID="{A45A92D2-858E-4F1C-A841-FCC41F6BAE18}" presName="parTxOnly" presStyleLbl="node1" presStyleIdx="2" presStyleCnt="3" custScaleX="8564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1BCF78A4-203A-42A6-8641-0E8362FD9E45}" srcId="{22C8004B-A441-4F06-B14F-E6072A253398}" destId="{A5C9D6BD-7705-41D0-896B-39382DEF9DAB}" srcOrd="0" destOrd="0" parTransId="{04DBB520-D8EC-410B-A08F-9E574DD82296}" sibTransId="{F28B3D7F-DFCE-4E77-8F1C-7B042500BAEF}"/>
    <dgm:cxn modelId="{69B425AC-5C44-49C9-8377-4E4BE9408033}" type="presOf" srcId="{CC6DE7D9-FFFB-4048-A63C-05CB70202A8D}" destId="{0550EBE2-3CC1-4770-9B02-DDFB5E793DEB}" srcOrd="0" destOrd="0" presId="urn:microsoft.com/office/officeart/2005/8/layout/chevron1"/>
    <dgm:cxn modelId="{BFE63539-22DE-4975-9F2B-B16967A9B79A}" srcId="{22C8004B-A441-4F06-B14F-E6072A253398}" destId="{CC6DE7D9-FFFB-4048-A63C-05CB70202A8D}" srcOrd="1" destOrd="0" parTransId="{00571E69-0253-4D2C-8C3E-A4B850FAE6D3}" sibTransId="{87372C84-E1D2-46B0-A14E-6954F848ADF5}"/>
    <dgm:cxn modelId="{03843AC6-7CEB-40E6-B0F6-49680014AA85}" type="presOf" srcId="{22C8004B-A441-4F06-B14F-E6072A253398}" destId="{3014A0A9-B888-44B6-87FD-3FA34B8C82C9}" srcOrd="0" destOrd="0" presId="urn:microsoft.com/office/officeart/2005/8/layout/chevron1"/>
    <dgm:cxn modelId="{1C4F2386-902C-4BE1-B3CD-0E7FD4A35ACB}" type="presOf" srcId="{A45A92D2-858E-4F1C-A841-FCC41F6BAE18}" destId="{BCA014BD-C38E-46FF-A29D-BD8B511B1E5E}" srcOrd="0" destOrd="0" presId="urn:microsoft.com/office/officeart/2005/8/layout/chevron1"/>
    <dgm:cxn modelId="{F01E4478-2209-459B-8DBB-B7DDDFDECB7F}" type="presOf" srcId="{A5C9D6BD-7705-41D0-896B-39382DEF9DAB}" destId="{186D22AC-C516-4D8C-AE22-0C650918D950}" srcOrd="0" destOrd="0" presId="urn:microsoft.com/office/officeart/2005/8/layout/chevron1"/>
    <dgm:cxn modelId="{93AA97E0-DDA1-409D-A408-BE2D9768E2FD}" srcId="{22C8004B-A441-4F06-B14F-E6072A253398}" destId="{A45A92D2-858E-4F1C-A841-FCC41F6BAE18}" srcOrd="2" destOrd="0" parTransId="{42E80D9D-55B0-4802-A0E5-4D02CF358B20}" sibTransId="{8BB256DD-2F5D-437A-B315-5C0A529645DA}"/>
    <dgm:cxn modelId="{C417B453-9C5F-4FA7-B0D6-784CE76C31C5}" type="presParOf" srcId="{3014A0A9-B888-44B6-87FD-3FA34B8C82C9}" destId="{186D22AC-C516-4D8C-AE22-0C650918D950}" srcOrd="0" destOrd="0" presId="urn:microsoft.com/office/officeart/2005/8/layout/chevron1"/>
    <dgm:cxn modelId="{9D86FA45-6D8D-4E5F-AC44-1B101FADF2E9}" type="presParOf" srcId="{3014A0A9-B888-44B6-87FD-3FA34B8C82C9}" destId="{47E3C63A-3CC1-478C-B991-43B301263277}" srcOrd="1" destOrd="0" presId="urn:microsoft.com/office/officeart/2005/8/layout/chevron1"/>
    <dgm:cxn modelId="{5C77350A-FFAB-4D1E-A6EA-ECD52AAE7307}" type="presParOf" srcId="{3014A0A9-B888-44B6-87FD-3FA34B8C82C9}" destId="{0550EBE2-3CC1-4770-9B02-DDFB5E793DEB}" srcOrd="2" destOrd="0" presId="urn:microsoft.com/office/officeart/2005/8/layout/chevron1"/>
    <dgm:cxn modelId="{5EB38362-884B-4C9C-A015-57E5FF7EE182}" type="presParOf" srcId="{3014A0A9-B888-44B6-87FD-3FA34B8C82C9}" destId="{3CCB8427-421B-4A76-8C0F-E1F61CFFE741}" srcOrd="3" destOrd="0" presId="urn:microsoft.com/office/officeart/2005/8/layout/chevron1"/>
    <dgm:cxn modelId="{38CA3BFC-F758-4E5C-BA10-F42A983D479F}" type="presParOf" srcId="{3014A0A9-B888-44B6-87FD-3FA34B8C82C9}" destId="{BCA014BD-C38E-46FF-A29D-BD8B511B1E5E}" srcOrd="4" destOrd="0" presId="urn:microsoft.com/office/officeart/2005/8/layout/chevron1"/>
  </dgm:cxnLst>
  <dgm:bg>
    <a:noFill/>
  </dgm:bg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AEF2CF-BD74-47E9-9224-4EAC05CF5B8D}">
      <dsp:nvSpPr>
        <dsp:cNvPr id="0" name=""/>
        <dsp:cNvSpPr/>
      </dsp:nvSpPr>
      <dsp:spPr>
        <a:xfrm>
          <a:off x="0" y="2318687"/>
          <a:ext cx="1393861" cy="1393861"/>
        </a:xfrm>
        <a:prstGeom prst="donut">
          <a:avLst>
            <a:gd name="adj" fmla="val 20000"/>
          </a:avLst>
        </a:prstGeom>
        <a:solidFill>
          <a:schemeClr val="accent6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73384A-DB24-4E9B-9313-3EFB3DDE8577}">
      <dsp:nvSpPr>
        <dsp:cNvPr id="0" name=""/>
        <dsp:cNvSpPr/>
      </dsp:nvSpPr>
      <dsp:spPr>
        <a:xfrm rot="17700000">
          <a:off x="497130" y="1182405"/>
          <a:ext cx="1732725" cy="8350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0" rIns="0" bIns="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500" kern="1200" dirty="0" smtClean="0">
              <a:latin typeface="Simplon BP Regular" pitchFamily="2" charset="0"/>
            </a:rPr>
            <a:t>Setup inicial do Projeto RAID-FMS</a:t>
          </a:r>
          <a:endParaRPr lang="pt-BR" sz="1500" kern="1200" dirty="0">
            <a:latin typeface="Simplon BP Regular" pitchFamily="2" charset="0"/>
          </a:endParaRPr>
        </a:p>
      </dsp:txBody>
      <dsp:txXfrm>
        <a:off x="497130" y="1182405"/>
        <a:ext cx="1732725" cy="835039"/>
      </dsp:txXfrm>
    </dsp:sp>
    <dsp:sp modelId="{46B25F0D-D431-4949-81A0-676174D34183}">
      <dsp:nvSpPr>
        <dsp:cNvPr id="0" name=""/>
        <dsp:cNvSpPr/>
      </dsp:nvSpPr>
      <dsp:spPr>
        <a:xfrm>
          <a:off x="1504848" y="2653867"/>
          <a:ext cx="723502" cy="723502"/>
        </a:xfrm>
        <a:prstGeom prst="ellipse">
          <a:avLst/>
        </a:prstGeom>
        <a:solidFill>
          <a:schemeClr val="accent6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93E5578-D846-4CF3-A9D5-73E453066575}">
      <dsp:nvSpPr>
        <dsp:cNvPr id="0" name=""/>
        <dsp:cNvSpPr/>
      </dsp:nvSpPr>
      <dsp:spPr>
        <a:xfrm rot="17700000">
          <a:off x="647958" y="3660868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Aquisição Infra DEV/HML – NDS/SI</a:t>
          </a:r>
          <a:endParaRPr lang="pt-BR" sz="1300" kern="1200" dirty="0">
            <a:latin typeface="Simplon BP Regular" pitchFamily="2" charset="0"/>
          </a:endParaRPr>
        </a:p>
      </dsp:txBody>
      <dsp:txXfrm>
        <a:off x="647958" y="3660868"/>
        <a:ext cx="1498888" cy="722708"/>
      </dsp:txXfrm>
    </dsp:sp>
    <dsp:sp modelId="{A1AA65C6-9A13-4697-920B-109CDD4DDA94}">
      <dsp:nvSpPr>
        <dsp:cNvPr id="0" name=""/>
        <dsp:cNvSpPr/>
      </dsp:nvSpPr>
      <dsp:spPr>
        <a:xfrm rot="17700000">
          <a:off x="1586352" y="1647660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FC968D4-1463-4BB8-8E4F-74B77036556E}">
      <dsp:nvSpPr>
        <dsp:cNvPr id="0" name=""/>
        <dsp:cNvSpPr/>
      </dsp:nvSpPr>
      <dsp:spPr>
        <a:xfrm>
          <a:off x="2333230" y="2653867"/>
          <a:ext cx="723502" cy="723502"/>
        </a:xfrm>
        <a:prstGeom prst="ellipse">
          <a:avLst/>
        </a:prstGeom>
        <a:solidFill>
          <a:schemeClr val="accent6">
            <a:shade val="80000"/>
            <a:hueOff val="48399"/>
            <a:satOff val="-3294"/>
            <a:lumOff val="389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2CA001B-E24E-4625-8CFA-1A6C755C930E}">
      <dsp:nvSpPr>
        <dsp:cNvPr id="0" name=""/>
        <dsp:cNvSpPr/>
      </dsp:nvSpPr>
      <dsp:spPr>
        <a:xfrm rot="17700000">
          <a:off x="1476340" y="3660868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Instalação FMS </a:t>
          </a:r>
          <a:r>
            <a:rPr lang="pt-BR" sz="1300" kern="1200" dirty="0" err="1" smtClean="0">
              <a:latin typeface="Simplon BP Regular" pitchFamily="2" charset="0"/>
            </a:rPr>
            <a:t>vanila</a:t>
          </a:r>
          <a:endParaRPr lang="pt-BR" sz="1300" kern="1200" dirty="0">
            <a:latin typeface="Simplon BP Regular" pitchFamily="2" charset="0"/>
          </a:endParaRPr>
        </a:p>
      </dsp:txBody>
      <dsp:txXfrm>
        <a:off x="1476340" y="3660868"/>
        <a:ext cx="1498888" cy="722708"/>
      </dsp:txXfrm>
    </dsp:sp>
    <dsp:sp modelId="{E0FD4796-E7AB-488D-9336-DB3CCBEFE335}">
      <dsp:nvSpPr>
        <dsp:cNvPr id="0" name=""/>
        <dsp:cNvSpPr/>
      </dsp:nvSpPr>
      <dsp:spPr>
        <a:xfrm rot="17700000">
          <a:off x="2414734" y="1647660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0C4B2F5-DDA6-41E2-B2AF-97E4F39909E6}">
      <dsp:nvSpPr>
        <dsp:cNvPr id="0" name=""/>
        <dsp:cNvSpPr/>
      </dsp:nvSpPr>
      <dsp:spPr>
        <a:xfrm>
          <a:off x="3161612" y="2653867"/>
          <a:ext cx="723502" cy="723502"/>
        </a:xfrm>
        <a:prstGeom prst="ellipse">
          <a:avLst/>
        </a:prstGeom>
        <a:solidFill>
          <a:schemeClr val="accent6">
            <a:shade val="80000"/>
            <a:hueOff val="96798"/>
            <a:satOff val="-6589"/>
            <a:lumOff val="779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56B5539-3C77-47E1-8754-B43314A96F14}">
      <dsp:nvSpPr>
        <dsp:cNvPr id="0" name=""/>
        <dsp:cNvSpPr/>
      </dsp:nvSpPr>
      <dsp:spPr>
        <a:xfrm rot="17700000">
          <a:off x="2304722" y="3660868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Onda1- Planejamento</a:t>
          </a:r>
          <a:r>
            <a:rPr lang="pt-BR" sz="1300" kern="1200" dirty="0" smtClean="0">
              <a:latin typeface="Simplon BP Regular" pitchFamily="2" charset="0"/>
            </a:rPr>
            <a:t>, </a:t>
          </a:r>
          <a:r>
            <a:rPr lang="pt-BR" sz="1300" kern="1200" dirty="0" err="1" smtClean="0">
              <a:latin typeface="Simplon BP Regular" pitchFamily="2" charset="0"/>
            </a:rPr>
            <a:t>scoping</a:t>
          </a:r>
          <a:r>
            <a:rPr lang="pt-BR" sz="1300" kern="1200" dirty="0" smtClean="0">
              <a:latin typeface="Simplon BP Regular" pitchFamily="2" charset="0"/>
            </a:rPr>
            <a:t> e </a:t>
          </a:r>
          <a:r>
            <a:rPr lang="pt-BR" sz="1300" kern="1200" dirty="0" err="1" smtClean="0">
              <a:latin typeface="Simplon BP Regular" pitchFamily="2" charset="0"/>
            </a:rPr>
            <a:t>Kick</a:t>
          </a:r>
          <a:r>
            <a:rPr lang="pt-BR" sz="1300" kern="1200" dirty="0" smtClean="0">
              <a:latin typeface="Simplon BP Regular" pitchFamily="2" charset="0"/>
            </a:rPr>
            <a:t>-off Programa 1</a:t>
          </a:r>
          <a:endParaRPr lang="pt-BR" sz="1300" kern="1200" dirty="0">
            <a:latin typeface="Simplon BP Regular" pitchFamily="2" charset="0"/>
          </a:endParaRPr>
        </a:p>
      </dsp:txBody>
      <dsp:txXfrm>
        <a:off x="2304722" y="3660868"/>
        <a:ext cx="1498888" cy="722708"/>
      </dsp:txXfrm>
    </dsp:sp>
    <dsp:sp modelId="{0566B732-D545-48BE-881E-52A791DA4ABA}">
      <dsp:nvSpPr>
        <dsp:cNvPr id="0" name=""/>
        <dsp:cNvSpPr/>
      </dsp:nvSpPr>
      <dsp:spPr>
        <a:xfrm rot="17700000">
          <a:off x="3243116" y="1647660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88A808A-6D31-491D-BE3F-A489F02F644F}">
      <dsp:nvSpPr>
        <dsp:cNvPr id="0" name=""/>
        <dsp:cNvSpPr/>
      </dsp:nvSpPr>
      <dsp:spPr>
        <a:xfrm>
          <a:off x="3989994" y="2653867"/>
          <a:ext cx="723502" cy="723502"/>
        </a:xfrm>
        <a:prstGeom prst="ellipse">
          <a:avLst/>
        </a:prstGeom>
        <a:solidFill>
          <a:schemeClr val="accent6">
            <a:shade val="80000"/>
            <a:hueOff val="145197"/>
            <a:satOff val="-9883"/>
            <a:lumOff val="1169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3385588-CEE7-4921-86D6-5DB56F25733B}">
      <dsp:nvSpPr>
        <dsp:cNvPr id="0" name=""/>
        <dsp:cNvSpPr/>
      </dsp:nvSpPr>
      <dsp:spPr>
        <a:xfrm rot="17700000">
          <a:off x="3133104" y="3660868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Aquisição Infra PRD – NDS/SI</a:t>
          </a:r>
          <a:endParaRPr lang="pt-BR" sz="1300" kern="1200" dirty="0">
            <a:latin typeface="Simplon BP Regular" pitchFamily="2" charset="0"/>
          </a:endParaRPr>
        </a:p>
      </dsp:txBody>
      <dsp:txXfrm>
        <a:off x="3133104" y="3660868"/>
        <a:ext cx="1498888" cy="722708"/>
      </dsp:txXfrm>
    </dsp:sp>
    <dsp:sp modelId="{9E2EB3AE-AB40-4FF6-81BC-67DD2E149D07}">
      <dsp:nvSpPr>
        <dsp:cNvPr id="0" name=""/>
        <dsp:cNvSpPr/>
      </dsp:nvSpPr>
      <dsp:spPr>
        <a:xfrm rot="17700000">
          <a:off x="4071498" y="1647660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87B6F15-59C6-4659-B141-44CA8308F192}">
      <dsp:nvSpPr>
        <dsp:cNvPr id="0" name=""/>
        <dsp:cNvSpPr/>
      </dsp:nvSpPr>
      <dsp:spPr>
        <a:xfrm>
          <a:off x="4818487" y="2318687"/>
          <a:ext cx="1393861" cy="1393861"/>
        </a:xfrm>
        <a:prstGeom prst="donut">
          <a:avLst>
            <a:gd name="adj" fmla="val 20000"/>
          </a:avLst>
        </a:prstGeom>
        <a:solidFill>
          <a:schemeClr val="accent6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EDE9DD2-3243-430B-BFDF-DB42C8C39F0F}">
      <dsp:nvSpPr>
        <dsp:cNvPr id="0" name=""/>
        <dsp:cNvSpPr/>
      </dsp:nvSpPr>
      <dsp:spPr>
        <a:xfrm rot="17700000">
          <a:off x="5309621" y="1182405"/>
          <a:ext cx="1732725" cy="8350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0" rIns="0" bIns="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500" kern="1200" dirty="0" smtClean="0">
              <a:latin typeface="Simplon BP Regular" pitchFamily="2" charset="0"/>
            </a:rPr>
            <a:t>Programa 1 Cadastro/Subscrição e Score externo</a:t>
          </a:r>
          <a:endParaRPr lang="pt-BR" sz="1500" kern="1200" dirty="0">
            <a:latin typeface="Simplon BP Regular" pitchFamily="2" charset="0"/>
          </a:endParaRPr>
        </a:p>
      </dsp:txBody>
      <dsp:txXfrm>
        <a:off x="5309621" y="1182405"/>
        <a:ext cx="1732725" cy="835039"/>
      </dsp:txXfrm>
    </dsp:sp>
    <dsp:sp modelId="{8DBDFD54-FA06-4E78-B1F9-B5C24B106AA5}">
      <dsp:nvSpPr>
        <dsp:cNvPr id="0" name=""/>
        <dsp:cNvSpPr/>
      </dsp:nvSpPr>
      <dsp:spPr>
        <a:xfrm>
          <a:off x="6317340" y="2653867"/>
          <a:ext cx="723502" cy="723502"/>
        </a:xfrm>
        <a:prstGeom prst="ellipse">
          <a:avLst/>
        </a:prstGeom>
        <a:solidFill>
          <a:schemeClr val="accent6">
            <a:shade val="80000"/>
            <a:hueOff val="193596"/>
            <a:satOff val="-13177"/>
            <a:lumOff val="1559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B6A5027-8CC0-4067-8103-7E8095435049}">
      <dsp:nvSpPr>
        <dsp:cNvPr id="0" name=""/>
        <dsp:cNvSpPr/>
      </dsp:nvSpPr>
      <dsp:spPr>
        <a:xfrm rot="17700000">
          <a:off x="5460450" y="3660868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Onda2- Motor de Regras [</a:t>
          </a:r>
          <a:r>
            <a:rPr lang="pt-BR" sz="1300" kern="1200" dirty="0" err="1" smtClean="0">
              <a:latin typeface="Simplon BP Regular" pitchFamily="2" charset="0"/>
            </a:rPr>
            <a:t>Qwin</a:t>
          </a:r>
          <a:r>
            <a:rPr lang="pt-BR" sz="1300" kern="1200" dirty="0" smtClean="0">
              <a:latin typeface="Simplon BP Regular" pitchFamily="2" charset="0"/>
            </a:rPr>
            <a:t> TV </a:t>
          </a:r>
          <a:r>
            <a:rPr lang="pt-BR" sz="1300" kern="1200" dirty="0" err="1" smtClean="0">
              <a:latin typeface="Simplon BP Regular" pitchFamily="2" charset="0"/>
            </a:rPr>
            <a:t>offline</a:t>
          </a:r>
          <a:r>
            <a:rPr lang="pt-BR" sz="1300" kern="1200" dirty="0" smtClean="0">
              <a:latin typeface="Simplon BP Regular" pitchFamily="2" charset="0"/>
            </a:rPr>
            <a:t>]</a:t>
          </a:r>
          <a:endParaRPr lang="pt-BR" sz="1300" kern="1200" dirty="0">
            <a:latin typeface="Simplon BP Regular" pitchFamily="2" charset="0"/>
          </a:endParaRPr>
        </a:p>
      </dsp:txBody>
      <dsp:txXfrm>
        <a:off x="5460450" y="3660868"/>
        <a:ext cx="1498888" cy="722708"/>
      </dsp:txXfrm>
    </dsp:sp>
    <dsp:sp modelId="{B8523729-5ED9-4781-9993-ED44EE714E76}">
      <dsp:nvSpPr>
        <dsp:cNvPr id="0" name=""/>
        <dsp:cNvSpPr/>
      </dsp:nvSpPr>
      <dsp:spPr>
        <a:xfrm rot="17700000">
          <a:off x="6398843" y="1647660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8F6187D-F3FF-4676-8B83-7A42AA5EA52A}">
      <dsp:nvSpPr>
        <dsp:cNvPr id="0" name=""/>
        <dsp:cNvSpPr/>
      </dsp:nvSpPr>
      <dsp:spPr>
        <a:xfrm>
          <a:off x="7145722" y="2653867"/>
          <a:ext cx="723502" cy="723502"/>
        </a:xfrm>
        <a:prstGeom prst="ellipse">
          <a:avLst/>
        </a:prstGeom>
        <a:solidFill>
          <a:schemeClr val="accent6">
            <a:shade val="80000"/>
            <a:hueOff val="241995"/>
            <a:satOff val="-16472"/>
            <a:lumOff val="1948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F4020F7-F215-45CC-8770-28C12A152C49}">
      <dsp:nvSpPr>
        <dsp:cNvPr id="0" name=""/>
        <dsp:cNvSpPr/>
      </dsp:nvSpPr>
      <dsp:spPr>
        <a:xfrm rot="17700000">
          <a:off x="6288832" y="3660868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Onda3- Oi </a:t>
          </a:r>
          <a:r>
            <a:rPr lang="pt-BR" sz="1300" kern="1200" dirty="0" smtClean="0">
              <a:latin typeface="Simplon BP Regular" pitchFamily="2" charset="0"/>
            </a:rPr>
            <a:t>Total </a:t>
          </a:r>
          <a:r>
            <a:rPr lang="pt-BR" sz="1300" kern="1200" dirty="0" smtClean="0">
              <a:latin typeface="Simplon BP Regular" pitchFamily="2" charset="0"/>
            </a:rPr>
            <a:t>2P </a:t>
          </a:r>
          <a:r>
            <a:rPr lang="pt-BR" sz="1300" kern="1200" dirty="0" smtClean="0">
              <a:latin typeface="Simplon BP Regular" pitchFamily="2" charset="0"/>
            </a:rPr>
            <a:t>Fixo R1/R2 </a:t>
          </a:r>
          <a:r>
            <a:rPr lang="pt-BR" sz="1300" kern="1200" dirty="0" smtClean="0">
              <a:latin typeface="Simplon BP Regular" pitchFamily="2" charset="0"/>
            </a:rPr>
            <a:t>+ </a:t>
          </a:r>
          <a:r>
            <a:rPr lang="pt-BR" sz="1300" kern="1200" dirty="0" err="1" smtClean="0">
              <a:latin typeface="Simplon BP Regular" pitchFamily="2" charset="0"/>
            </a:rPr>
            <a:t>Transact</a:t>
          </a:r>
          <a:r>
            <a:rPr lang="pt-BR" sz="1300" kern="1200" dirty="0" smtClean="0">
              <a:latin typeface="Simplon BP Regular" pitchFamily="2" charset="0"/>
            </a:rPr>
            <a:t> Online</a:t>
          </a:r>
          <a:endParaRPr lang="pt-BR" sz="1300" kern="1200" dirty="0">
            <a:latin typeface="Simplon BP Regular" pitchFamily="2" charset="0"/>
          </a:endParaRPr>
        </a:p>
      </dsp:txBody>
      <dsp:txXfrm>
        <a:off x="6288832" y="3660868"/>
        <a:ext cx="1498888" cy="722708"/>
      </dsp:txXfrm>
    </dsp:sp>
    <dsp:sp modelId="{9D3D5B97-3DE5-4600-B2D0-2F52A3508BAB}">
      <dsp:nvSpPr>
        <dsp:cNvPr id="0" name=""/>
        <dsp:cNvSpPr/>
      </dsp:nvSpPr>
      <dsp:spPr>
        <a:xfrm rot="17700000">
          <a:off x="7227225" y="1647660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85EB5AC-902D-472C-844D-916AF60547E4}">
      <dsp:nvSpPr>
        <dsp:cNvPr id="0" name=""/>
        <dsp:cNvSpPr/>
      </dsp:nvSpPr>
      <dsp:spPr>
        <a:xfrm>
          <a:off x="7974104" y="2653867"/>
          <a:ext cx="723502" cy="723502"/>
        </a:xfrm>
        <a:prstGeom prst="ellipse">
          <a:avLst/>
        </a:prstGeom>
        <a:solidFill>
          <a:schemeClr val="accent6">
            <a:shade val="80000"/>
            <a:hueOff val="290394"/>
            <a:satOff val="-19766"/>
            <a:lumOff val="2338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CA68C6F-E3B6-46A7-A9B1-B780AB0310AB}">
      <dsp:nvSpPr>
        <dsp:cNvPr id="0" name=""/>
        <dsp:cNvSpPr/>
      </dsp:nvSpPr>
      <dsp:spPr>
        <a:xfrm rot="17700000">
          <a:off x="7117214" y="3660868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Onda4- OI </a:t>
          </a:r>
          <a:r>
            <a:rPr lang="pt-BR" sz="1300" kern="1200" dirty="0" smtClean="0">
              <a:latin typeface="Simplon BP Regular" pitchFamily="2" charset="0"/>
            </a:rPr>
            <a:t>Total 3P - TV Online</a:t>
          </a:r>
          <a:endParaRPr lang="pt-BR" sz="1300" kern="1200" dirty="0">
            <a:latin typeface="Simplon BP Regular" pitchFamily="2" charset="0"/>
          </a:endParaRPr>
        </a:p>
      </dsp:txBody>
      <dsp:txXfrm>
        <a:off x="7117214" y="3660868"/>
        <a:ext cx="1498888" cy="722708"/>
      </dsp:txXfrm>
    </dsp:sp>
    <dsp:sp modelId="{2BF1D30D-A645-461B-8B53-6D37647F8F3F}">
      <dsp:nvSpPr>
        <dsp:cNvPr id="0" name=""/>
        <dsp:cNvSpPr/>
      </dsp:nvSpPr>
      <dsp:spPr>
        <a:xfrm rot="17700000">
          <a:off x="8055607" y="1647660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554C5DC-DEEA-4AE2-942F-B531DCD6A4BC}">
      <dsp:nvSpPr>
        <dsp:cNvPr id="0" name=""/>
        <dsp:cNvSpPr/>
      </dsp:nvSpPr>
      <dsp:spPr>
        <a:xfrm>
          <a:off x="8802486" y="2653867"/>
          <a:ext cx="723502" cy="723502"/>
        </a:xfrm>
        <a:prstGeom prst="ellipse">
          <a:avLst/>
        </a:prstGeom>
        <a:solidFill>
          <a:schemeClr val="accent6">
            <a:shade val="80000"/>
            <a:hueOff val="338793"/>
            <a:satOff val="-23060"/>
            <a:lumOff val="2728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0E61BE3-08C2-42D5-B308-61E0BFDF64D4}">
      <dsp:nvSpPr>
        <dsp:cNvPr id="0" name=""/>
        <dsp:cNvSpPr/>
      </dsp:nvSpPr>
      <dsp:spPr>
        <a:xfrm rot="17700000">
          <a:off x="7945596" y="3660868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Onda5 &amp; 6- Oi Total </a:t>
          </a:r>
          <a:r>
            <a:rPr lang="pt-BR" sz="1300" kern="1200" dirty="0" smtClean="0">
              <a:latin typeface="Simplon BP Regular" pitchFamily="2" charset="0"/>
            </a:rPr>
            <a:t>+ </a:t>
          </a:r>
          <a:r>
            <a:rPr lang="pt-BR" sz="1300" kern="1200" dirty="0" smtClean="0">
              <a:latin typeface="Simplon BP Regular" pitchFamily="2" charset="0"/>
            </a:rPr>
            <a:t>Móvel puro Online</a:t>
          </a:r>
          <a:endParaRPr lang="pt-BR" sz="1300" kern="1200" dirty="0">
            <a:latin typeface="Simplon BP Regular" pitchFamily="2" charset="0"/>
          </a:endParaRPr>
        </a:p>
      </dsp:txBody>
      <dsp:txXfrm>
        <a:off x="7945596" y="3660868"/>
        <a:ext cx="1498888" cy="722708"/>
      </dsp:txXfrm>
    </dsp:sp>
    <dsp:sp modelId="{0B76364A-724C-4D60-B742-8B2007D3D83F}">
      <dsp:nvSpPr>
        <dsp:cNvPr id="0" name=""/>
        <dsp:cNvSpPr/>
      </dsp:nvSpPr>
      <dsp:spPr>
        <a:xfrm rot="17700000">
          <a:off x="8883989" y="1647660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7B6CC0B-51B2-49F4-99D4-5638832F0DB8}">
      <dsp:nvSpPr>
        <dsp:cNvPr id="0" name=""/>
        <dsp:cNvSpPr/>
      </dsp:nvSpPr>
      <dsp:spPr>
        <a:xfrm>
          <a:off x="9630867" y="2653867"/>
          <a:ext cx="723502" cy="723502"/>
        </a:xfrm>
        <a:prstGeom prst="ellipse">
          <a:avLst/>
        </a:prstGeom>
        <a:solidFill>
          <a:schemeClr val="accent6">
            <a:shade val="80000"/>
            <a:hueOff val="387192"/>
            <a:satOff val="-26355"/>
            <a:lumOff val="3118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911B9EF-06FF-4EFF-B38F-46F7111F856E}">
      <dsp:nvSpPr>
        <dsp:cNvPr id="0" name=""/>
        <dsp:cNvSpPr/>
      </dsp:nvSpPr>
      <dsp:spPr>
        <a:xfrm rot="17700000">
          <a:off x="8773978" y="3660868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Onda7.1- Interfaces CRM</a:t>
          </a:r>
          <a:endParaRPr lang="pt-BR" sz="1300" kern="1200" dirty="0">
            <a:latin typeface="Simplon BP Regular" pitchFamily="2" charset="0"/>
          </a:endParaRPr>
        </a:p>
      </dsp:txBody>
      <dsp:txXfrm>
        <a:off x="8773978" y="3660868"/>
        <a:ext cx="1498888" cy="722708"/>
      </dsp:txXfrm>
    </dsp:sp>
    <dsp:sp modelId="{9F22E223-C03C-4A17-985E-B8945A116FFF}">
      <dsp:nvSpPr>
        <dsp:cNvPr id="0" name=""/>
        <dsp:cNvSpPr/>
      </dsp:nvSpPr>
      <dsp:spPr>
        <a:xfrm rot="17700000">
          <a:off x="9712371" y="1647660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51BFFF2-4320-4695-A3BB-35020D09811E}">
      <dsp:nvSpPr>
        <dsp:cNvPr id="0" name=""/>
        <dsp:cNvSpPr/>
      </dsp:nvSpPr>
      <dsp:spPr>
        <a:xfrm>
          <a:off x="10459249" y="2653867"/>
          <a:ext cx="723502" cy="723502"/>
        </a:xfrm>
        <a:prstGeom prst="ellipse">
          <a:avLst/>
        </a:prstGeom>
        <a:solidFill>
          <a:schemeClr val="accent6">
            <a:shade val="80000"/>
            <a:hueOff val="435591"/>
            <a:satOff val="-29649"/>
            <a:lumOff val="3507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467B0E9-04E2-44A1-8F25-6FA6F36F33B1}">
      <dsp:nvSpPr>
        <dsp:cNvPr id="0" name=""/>
        <dsp:cNvSpPr/>
      </dsp:nvSpPr>
      <dsp:spPr>
        <a:xfrm rot="17700000">
          <a:off x="9602360" y="3660868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Onda7.2- Interfaces </a:t>
          </a:r>
          <a:r>
            <a:rPr lang="pt-BR" sz="1300" kern="1200" dirty="0" err="1" smtClean="0">
              <a:latin typeface="Simplon BP Regular" pitchFamily="2" charset="0"/>
            </a:rPr>
            <a:t>fat</a:t>
          </a:r>
          <a:r>
            <a:rPr lang="pt-BR" sz="1300" kern="1200" dirty="0" smtClean="0">
              <a:latin typeface="Simplon BP Regular" pitchFamily="2" charset="0"/>
            </a:rPr>
            <a:t>/</a:t>
          </a:r>
          <a:r>
            <a:rPr lang="pt-BR" sz="1300" kern="1200" dirty="0" err="1" smtClean="0">
              <a:latin typeface="Simplon BP Regular" pitchFamily="2" charset="0"/>
            </a:rPr>
            <a:t>inad</a:t>
          </a:r>
          <a:r>
            <a:rPr lang="pt-BR" sz="1300" kern="1200" dirty="0" smtClean="0">
              <a:latin typeface="Simplon BP Regular" pitchFamily="2" charset="0"/>
            </a:rPr>
            <a:t>/recargas etc.</a:t>
          </a:r>
          <a:endParaRPr lang="pt-BR" sz="1300" kern="1200" dirty="0">
            <a:latin typeface="Simplon BP Regular" pitchFamily="2" charset="0"/>
          </a:endParaRPr>
        </a:p>
      </dsp:txBody>
      <dsp:txXfrm>
        <a:off x="9602360" y="3660868"/>
        <a:ext cx="1498888" cy="722708"/>
      </dsp:txXfrm>
    </dsp:sp>
    <dsp:sp modelId="{BD4CC4AC-B4AD-4C64-819F-6D2E8601042C}">
      <dsp:nvSpPr>
        <dsp:cNvPr id="0" name=""/>
        <dsp:cNvSpPr/>
      </dsp:nvSpPr>
      <dsp:spPr>
        <a:xfrm rot="17700000">
          <a:off x="10540753" y="1647660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86D22AC-C516-4D8C-AE22-0C650918D950}">
      <dsp:nvSpPr>
        <dsp:cNvPr id="0" name=""/>
        <dsp:cNvSpPr/>
      </dsp:nvSpPr>
      <dsp:spPr>
        <a:xfrm>
          <a:off x="2174" y="0"/>
          <a:ext cx="4016567" cy="619275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8019" tIns="49340" rIns="49340" bIns="49340" numCol="1" spcCol="1270" anchor="ctr" anchorCtr="0">
          <a:noAutofit/>
        </a:bodyPr>
        <a:lstStyle/>
        <a:p>
          <a:pPr lvl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3700" kern="1200" dirty="0" smtClean="0">
              <a:latin typeface="Simplon BP Regular" pitchFamily="2" charset="0"/>
            </a:rPr>
            <a:t>2017</a:t>
          </a:r>
          <a:endParaRPr lang="pt-BR" sz="3700" kern="1200" dirty="0">
            <a:latin typeface="Simplon BP Regular" pitchFamily="2" charset="0"/>
          </a:endParaRPr>
        </a:p>
      </dsp:txBody>
      <dsp:txXfrm>
        <a:off x="311812" y="0"/>
        <a:ext cx="3397292" cy="619275"/>
      </dsp:txXfrm>
    </dsp:sp>
    <dsp:sp modelId="{0550EBE2-3CC1-4770-9B02-DDFB5E793DEB}">
      <dsp:nvSpPr>
        <dsp:cNvPr id="0" name=""/>
        <dsp:cNvSpPr/>
      </dsp:nvSpPr>
      <dsp:spPr>
        <a:xfrm>
          <a:off x="3648343" y="0"/>
          <a:ext cx="5235957" cy="619275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2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8019" tIns="49340" rIns="49340" bIns="49340" numCol="1" spcCol="1270" anchor="ctr" anchorCtr="0">
          <a:noAutofit/>
        </a:bodyPr>
        <a:lstStyle/>
        <a:p>
          <a:pPr lvl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3700" kern="1200" dirty="0" smtClean="0">
              <a:latin typeface="Simplon BP Regular" pitchFamily="2" charset="0"/>
            </a:rPr>
            <a:t>2018 [dias das mães]</a:t>
          </a:r>
          <a:endParaRPr lang="pt-BR" sz="3700" kern="1200" dirty="0">
            <a:latin typeface="Simplon BP Regular" pitchFamily="2" charset="0"/>
          </a:endParaRPr>
        </a:p>
      </dsp:txBody>
      <dsp:txXfrm>
        <a:off x="3957981" y="0"/>
        <a:ext cx="4616682" cy="619275"/>
      </dsp:txXfrm>
    </dsp:sp>
    <dsp:sp modelId="{BCA014BD-C38E-46FF-A29D-BD8B511B1E5E}">
      <dsp:nvSpPr>
        <dsp:cNvPr id="0" name=""/>
        <dsp:cNvSpPr/>
      </dsp:nvSpPr>
      <dsp:spPr>
        <a:xfrm>
          <a:off x="8513902" y="0"/>
          <a:ext cx="3172317" cy="619275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8019" tIns="49340" rIns="49340" bIns="49340" numCol="1" spcCol="1270" anchor="ctr" anchorCtr="0">
          <a:noAutofit/>
        </a:bodyPr>
        <a:lstStyle/>
        <a:p>
          <a:pPr lvl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3700" kern="1200" dirty="0" smtClean="0">
              <a:latin typeface="Simplon BP Regular" pitchFamily="2" charset="0"/>
            </a:rPr>
            <a:t>2018</a:t>
          </a:r>
          <a:endParaRPr lang="pt-BR" sz="3700" kern="1200" dirty="0">
            <a:latin typeface="Simplon BP Regular" pitchFamily="2" charset="0"/>
          </a:endParaRPr>
        </a:p>
      </dsp:txBody>
      <dsp:txXfrm>
        <a:off x="8823540" y="0"/>
        <a:ext cx="2553042" cy="61927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CircleAccentTimeline">
  <dgm:title val=""/>
  <dgm:desc val=""/>
  <dgm:catLst>
    <dgm:cat type="process" pri="7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41" srcId="1" destId="11" srcOrd="0" destOrd="0"/>
        <dgm:cxn modelId="5" srcId="0" destId="2" srcOrd="0" destOrd="0"/>
        <dgm:cxn modelId="51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41" srcId="1" destId="11" srcOrd="0" destOrd="0"/>
        <dgm:cxn modelId="5" srcId="0" destId="2" srcOrd="0" destOrd="0"/>
        <dgm:cxn modelId="51" srcId="2" destId="21" srcOrd="0" destOrd="0"/>
      </dgm:cxnLst>
      <dgm:bg/>
      <dgm:whole/>
    </dgm:dataModel>
  </dgm:clrData>
  <dgm:layoutNode name="Name0">
    <dgm:varLst>
      <dgm:dir/>
    </dgm:varLst>
    <dgm:choose name="Name1">
      <dgm:if name="Name2" func="var" arg="dir" op="equ" val="norm">
        <dgm:alg type="lin">
          <dgm:param type="fallback" val="2D"/>
          <dgm:param type="nodeVertAlign" val="b"/>
        </dgm:alg>
      </dgm:if>
      <dgm:else name="Name3">
        <dgm:alg type="lin">
          <dgm:param type="fallback" val="2D"/>
          <dgm:param type="nodeVertAlign" val="b"/>
          <dgm:param type="linDir" val="fromR"/>
        </dgm:alg>
      </dgm:else>
    </dgm:choose>
    <dgm:shape xmlns:r="http://schemas.openxmlformats.org/officeDocument/2006/relationships" r:blip="">
      <dgm:adjLst/>
    </dgm:shape>
    <dgm:constrLst>
      <dgm:constr type="h" for="ch" forName="parComposite" refType="h"/>
      <dgm:constr type="w" for="ch" forName="parComposite" refType="h" refFor="ch" refForName="parComposite" fact="0.4986"/>
      <dgm:constr type="h" for="ch" forName="desComposite" refType="h" fact="0.8722"/>
      <dgm:constr type="w" for="ch" forName="desComposite" refType="h" refFor="ch" refForName="desComposite" fact="0.6056"/>
      <dgm:constr type="w" for="ch" forName="parBackupNorm" refType="w" refFor="ch" refForName="parComposite" fact="-0.3369"/>
      <dgm:constr type="w" for="ch" forName="parBackupRTL" refType="w" refFor="ch" refForName="parComposite" fact="-0.3369"/>
      <dgm:constr type="w" for="ch" forName="parBackupRev" refType="w" refFor="ch" refForName="parComposite" fact="0"/>
      <dgm:constr type="w" for="ch" forName="desBackupLeftNorm" refType="w" refFor="ch" refForName="desComposite" fact="-0.3376"/>
      <dgm:constr type="w" for="ch" forName="desBackupLeftRev" refType="w" refFor="ch" refForName="desComposite" fact="-0.3376"/>
      <dgm:constr type="w" for="ch" forName="desBackupRightNorm" refType="w" refFor="ch" refForName="desComposite" fact="-0.3376"/>
      <dgm:constr type="w" for="ch" forName="desBackupRightRev" refType="w" refFor="ch" refForName="desComposite" fact="-0.3376"/>
      <dgm:constr type="w" for="ch" forName="parSpace" refType="w" refFor="ch" refForName="parComposite" fact="0.05"/>
      <dgm:constr type="w" for="ch" forName="desSpace" refType="w" refFor="ch" refForName="parComposite" fact="0.05"/>
      <dgm:constr type="primFontSz" for="des" forName="parTx" op="equ" val="65"/>
      <dgm:constr type="primFontSz" for="des" forName="chTx" refType="primFontSz" refFor="des" refForName="parTx" op="lte" val="65"/>
      <dgm:constr type="primFontSz" for="des" forName="desTx" refType="primFontSz" refFor="des" refForName="chTx" op="lte" val="65"/>
      <dgm:constr type="primFontSz" for="des" forName="desTx" refType="primFontSz" refFor="des" refForName="parTx" op="lte"/>
    </dgm:constrLst>
    <dgm:forEach name="Name4" axis="ch" ptType="node">
      <dgm:layoutNode name="parComposite">
        <dgm:alg type="composite"/>
        <dgm:shape xmlns:r="http://schemas.openxmlformats.org/officeDocument/2006/relationships" r:blip="">
          <dgm:adjLst/>
        </dgm:shape>
        <dgm:choose name="Name5">
          <dgm:if name="Name6" func="var" arg="dir" op="equ" val="norm">
            <dgm:constrLst>
              <dgm:constr type="l" for="ch" forName="parBigCircle"/>
              <dgm:constr type="ctrY" for="ch" forName="parBigCircle" refType="h" fact="0.5639"/>
              <dgm:constr type="w" for="ch" forName="parBigCircle" refType="w" fact="0.6631"/>
              <dgm:constr type="h" for="ch" forName="parBigCircle" refType="w" refFor="ch" refForName="parBigCircle"/>
              <dgm:constr type="r" for="ch" forName="parTx" refType="w"/>
              <dgm:constr type="t" for="ch" forName="parTx"/>
              <dgm:constr type="w" for="ch" forName="parTx" refType="w" fact="0.7084"/>
              <dgm:constr type="h" for="ch" forName="parTx" refType="h" fact="0.4562"/>
              <dgm:constr type="t" for="ch" forName="bSpace" refType="ctrY" refFor="ch" refForName="parBigCircle"/>
              <dgm:constr type="b" for="ch" forName="bSpace" refType="h"/>
              <dgm:constr type="l" for="ch" forName="bSpace"/>
              <dgm:constr type="w" for="ch" forName="bSpace" val="1"/>
            </dgm:constrLst>
          </dgm:if>
          <dgm:else name="Name7">
            <dgm:constrLst>
              <dgm:constr type="r" for="ch" forName="parBigCircle" refType="w"/>
              <dgm:constr type="ctrY" for="ch" forName="parBigCircle" refType="h" fact="0.5639"/>
              <dgm:constr type="w" for="ch" forName="parBigCircle" refType="w" fact="0.6631"/>
              <dgm:constr type="h" for="ch" forName="parBigCircle" refType="w" refFor="ch" refForName="parBigCircle"/>
              <dgm:constr type="l" for="ch" forName="parTx" fact="0"/>
              <dgm:constr type="t" for="ch" forName="parTx"/>
              <dgm:constr type="w" for="ch" forName="parTx" refType="w" fact="0.7084"/>
              <dgm:constr type="h" for="ch" forName="parTx" refType="h" fact="0.4562"/>
              <dgm:constr type="t" for="ch" forName="bSpace" refType="ctrY" refFor="ch" refForName="parBigCircle"/>
              <dgm:constr type="b" for="ch" forName="bSpace" refType="h"/>
              <dgm:constr type="r" for="ch" forName="bSpace"/>
              <dgm:constr type="w" for="ch" forName="bSpace" val="1"/>
            </dgm:constrLst>
          </dgm:else>
        </dgm:choose>
        <dgm:layoutNode name="parBigCircle" styleLbl="node0">
          <dgm:alg type="sp"/>
          <dgm:shape xmlns:r="http://schemas.openxmlformats.org/officeDocument/2006/relationships" type="donut" r:blip="">
            <dgm:adjLst>
              <dgm:adj idx="1" val="0.2"/>
            </dgm:adjLst>
          </dgm:shape>
          <dgm:presOf/>
          <dgm:constrLst>
            <dgm:constr type="h" refType="w" op="equ"/>
          </dgm:constrLst>
        </dgm:layoutNode>
        <dgm:layoutNode name="parTx" styleLbl="revTx">
          <dgm:choose name="Name8">
            <dgm:if name="Name9" func="var" arg="dir" op="equ" val="norm">
              <dgm:alg type="tx">
                <dgm:param type="autoTxRot" val="grav"/>
                <dgm:param type="parTxLTRAlign" val="l"/>
              </dgm:alg>
              <dgm:shape xmlns:r="http://schemas.openxmlformats.org/officeDocument/2006/relationships" rot="295" type="rect" r:blip="">
                <dgm:adjLst/>
              </dgm:shape>
              <dgm:presOf axis="self" ptType="node"/>
              <dgm:constrLst>
                <dgm:constr type="lMarg" refType="primFontSz" fact="0.2"/>
                <dgm:constr type="rMarg"/>
                <dgm:constr type="tMarg"/>
                <dgm:constr type="bMarg"/>
              </dgm:constrLst>
            </dgm:if>
            <dgm:else name="Name10">
              <dgm:alg type="tx">
                <dgm:param type="autoTxRot" val="grav"/>
                <dgm:param type="parTxLTRAlign" val="r"/>
              </dgm:alg>
              <dgm:shape xmlns:r="http://schemas.openxmlformats.org/officeDocument/2006/relationships" rot="65" type="rect" r:blip="">
                <dgm:adjLst/>
              </dgm:shape>
              <dgm:presOf axis="self" ptType="node"/>
              <dgm:constrLst>
                <dgm:constr type="lMarg"/>
                <dgm:constr type="rMarg" refType="primFontSz" fact="0.2"/>
                <dgm:constr type="tMarg"/>
                <dgm:constr type="bMarg"/>
              </dgm:constrLst>
            </dgm:else>
          </dgm:choose>
          <dgm:ruleLst>
            <dgm:rule type="primFontSz" val="5" fact="NaN" max="NaN"/>
          </dgm:ruleLst>
        </dgm:layoutNode>
        <dgm:layoutNode name="bSpace">
          <dgm:alg type="sp"/>
          <dgm:shape xmlns:r="http://schemas.openxmlformats.org/officeDocument/2006/relationships" r:blip="">
            <dgm:adjLst/>
          </dgm:shape>
          <dgm:presOf/>
        </dgm:layoutNode>
      </dgm:layoutNode>
      <dgm:choose name="Name11">
        <dgm:if name="Name12" func="var" arg="dir" op="equ" val="norm">
          <dgm:layoutNode name="parBackupNorm">
            <dgm:alg type="sp"/>
            <dgm:shape xmlns:r="http://schemas.openxmlformats.org/officeDocument/2006/relationships" r:blip="">
              <dgm:adjLst/>
            </dgm:shape>
            <dgm:presOf/>
          </dgm:layoutNode>
        </dgm:if>
        <dgm:else name="Name13">
          <dgm:layoutNode name="parBackupRTL">
            <dgm:alg type="sp"/>
            <dgm:shape xmlns:r="http://schemas.openxmlformats.org/officeDocument/2006/relationships" r:blip="">
              <dgm:adjLst/>
            </dgm:shape>
            <dgm:presOf/>
          </dgm:layoutNode>
        </dgm:else>
      </dgm:choose>
      <dgm:forEach name="Name14" axis="followSib" ptType="sibTrans" hideLastTrans="0" cnt="1">
        <dgm:layoutNode name="parSpace">
          <dgm:alg type="sp"/>
          <dgm:shape xmlns:r="http://schemas.openxmlformats.org/officeDocument/2006/relationships" r:blip="">
            <dgm:adjLst/>
          </dgm:shape>
          <dgm:presOf/>
        </dgm:layoutNode>
      </dgm:forEach>
      <dgm:forEach name="Name15" axis="ch" ptType="node">
        <dgm:choose name="Name16">
          <dgm:if name="Name17" func="var" arg="dir" op="equ" val="norm">
            <dgm:layoutNode name="desBackupLeftNorm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if>
          <dgm:else name="Name18">
            <dgm:choose name="Name19">
              <dgm:if name="Name20" axis="self" ptType="node" func="pos" op="equ" val="1">
                <dgm:layoutNode name="desBackupRightRev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21"/>
            </dgm:choose>
          </dgm:else>
        </dgm:choose>
        <dgm:layoutNode name="desComposite">
          <dgm:alg type="composite"/>
          <dgm:shape xmlns:r="http://schemas.openxmlformats.org/officeDocument/2006/relationships" r:blip="">
            <dgm:adjLst/>
          </dgm:shape>
          <dgm:choose name="Name22">
            <dgm:if name="Name23" func="var" arg="dir" op="equ" val="norm">
              <dgm:constrLst>
                <dgm:constr type="ctrX" for="ch" forName="desCircle" refType="w" fact="0.5"/>
                <dgm:constr type="ctrY" for="ch" forName="desCircle" refType="h" fact="0.5"/>
                <dgm:constr type="w" for="ch" forName="desCircle" refType="w" fact="0.3249"/>
                <dgm:constr type="h" for="ch" forName="desCircle" refType="w" refFor="ch" refForName="desCircle"/>
                <dgm:constr type="l" for="ch" forName="chTx"/>
                <dgm:constr type="b" for="ch" forName="chTx" refType="h"/>
                <dgm:constr type="w" for="ch" forName="chTx" refType="w" fact="0.5786"/>
                <dgm:constr type="h" for="ch" forName="chTx" refType="h" fact="0.4525"/>
                <dgm:constr type="r" for="ch" forName="desTx" refType="w"/>
                <dgm:constr type="t" for="ch" forName="desTx"/>
                <dgm:constr type="w" for="ch" forName="desTx" refType="w" fact="0.5786"/>
                <dgm:constr type="h" for="ch" forName="desTx" refType="h" fact="0.4525"/>
              </dgm:constrLst>
            </dgm:if>
            <dgm:else name="Name24">
              <dgm:constrLst>
                <dgm:constr type="ctrX" for="ch" forName="desCircle" refType="w" fact="0.5"/>
                <dgm:constr type="ctrY" for="ch" forName="desCircle" refType="h" fact="0.5"/>
                <dgm:constr type="w" for="ch" forName="desCircle" refType="w" fact="0.3249"/>
                <dgm:constr type="h" for="ch" forName="desCircle" refType="w" refFor="ch" refForName="desCircle"/>
                <dgm:constr type="r" for="ch" forName="chTx" refType="w"/>
                <dgm:constr type="b" for="ch" forName="chTx" refType="h"/>
                <dgm:constr type="w" for="ch" forName="chTx" refType="w" fact="0.5786"/>
                <dgm:constr type="h" for="ch" forName="chTx" refType="h" fact="0.4525"/>
                <dgm:constr type="l" for="ch" forName="desTx"/>
                <dgm:constr type="t" for="ch" forName="desTx"/>
                <dgm:constr type="w" for="ch" forName="desTx" refType="w" fact="0.5786"/>
                <dgm:constr type="h" for="ch" forName="desTx" refType="h" fact="0.4525"/>
              </dgm:constrLst>
            </dgm:else>
          </dgm:choose>
          <dgm:layoutNode name="desCircle" styleLbl="node1">
            <dgm:alg type="sp"/>
            <dgm:shape xmlns:r="http://schemas.openxmlformats.org/officeDocument/2006/relationships" type="ellipse" r:blip="">
              <dgm:adjLst/>
            </dgm:shape>
            <dgm:presOf/>
            <dgm:constrLst>
              <dgm:constr type="h" refType="w" op="equ"/>
            </dgm:constrLst>
          </dgm:layoutNode>
          <dgm:layoutNode name="chTx" styleLbl="revTx">
            <dgm:choose name="Name25">
              <dgm:if name="Name26" func="var" arg="dir" op="equ" val="norm">
                <dgm:alg type="tx">
                  <dgm:param type="autoTxRot" val="grav"/>
                  <dgm:param type="parTxLTRAlign" val="r"/>
                  <dgm:param type="txAnchorVert" val="mid"/>
                  <dgm:param type="txAnchorVertCh" val="mid"/>
                </dgm:alg>
                <dgm:shape xmlns:r="http://schemas.openxmlformats.org/officeDocument/2006/relationships" rot="295" type="rect" r:blip="">
                  <dgm:adjLst/>
                </dgm:shape>
                <dgm:presOf axis="self" ptType="node"/>
              </dgm:if>
              <dgm:else name="Name27">
                <dgm:alg type="tx">
                  <dgm:param type="autoTxRot" val="grav"/>
                  <dgm:param type="parTxLTRAlign" val="l"/>
                  <dgm:param type="txAnchorVert" val="mid"/>
                  <dgm:param type="txAnchorVertCh" val="mid"/>
                </dgm:alg>
                <dgm:shape xmlns:r="http://schemas.openxmlformats.org/officeDocument/2006/relationships" rot="65" type="rect" r:blip="">
                  <dgm:adjLst/>
                </dgm:shape>
                <dgm:presOf axis="self" ptType="node"/>
              </dgm:else>
            </dgm:choose>
            <dgm:choose name="Name28">
              <dgm:if name="Name29" func="var" arg="dir" op="equ" val="norm">
                <dgm:constrLst>
                  <dgm:constr type="lMarg"/>
                  <dgm:constr type="rMarg" refType="primFontSz" fact="0.2"/>
                  <dgm:constr type="tMarg"/>
                  <dgm:constr type="bMarg"/>
                </dgm:constrLst>
              </dgm:if>
              <dgm:else name="Name30">
                <dgm:constrLst>
                  <dgm:constr type="rMarg"/>
                  <dgm:constr type="lMarg" refType="primFontSz" fact="0.2"/>
                  <dgm:constr type="tMarg"/>
                  <dgm:constr type="bMarg"/>
                </dgm:constrLst>
              </dgm:else>
            </dgm:choose>
            <dgm:ruleLst>
              <dgm:rule type="primFontSz" val="5" fact="NaN" max="NaN"/>
            </dgm:ruleLst>
          </dgm:layoutNode>
          <dgm:layoutNode name="desTx" styleLbl="revTx">
            <dgm:varLst>
              <dgm:bulletEnabled val="1"/>
            </dgm:varLst>
            <dgm:choose name="Name31">
              <dgm:if name="Name32" func="var" arg="dir" op="equ" val="norm">
                <dgm:alg type="tx">
                  <dgm:param type="autoTxRot" val="grav"/>
                  <dgm:param type="parTxLTRAlign" val="l"/>
                  <dgm:param type="shpTxLTRAlignCh" val="l"/>
                  <dgm:param type="stBulletLvl" val="1"/>
                  <dgm:param type="txAnchorVert" val="mid"/>
                </dgm:alg>
                <dgm:shape xmlns:r="http://schemas.openxmlformats.org/officeDocument/2006/relationships" rot="295" type="rect" r:blip="">
                  <dgm:adjLst/>
                </dgm:shape>
                <dgm:presOf axis="des" ptType="node"/>
              </dgm:if>
              <dgm:else name="Name33">
                <dgm:alg type="tx">
                  <dgm:param type="autoTxRot" val="grav"/>
                  <dgm:param type="parTxLTRAlign" val="r"/>
                  <dgm:param type="shpTxLTRAlignCh" val="r"/>
                  <dgm:param type="stBulletLvl" val="1"/>
                  <dgm:param type="txAnchorVert" val="mid"/>
                </dgm:alg>
                <dgm:shape xmlns:r="http://schemas.openxmlformats.org/officeDocument/2006/relationships" rot="65" type="rect" r:blip="">
                  <dgm:adjLst/>
                </dgm:shape>
                <dgm:presOf axis="des" ptType="node"/>
              </dgm:else>
            </dgm:choose>
            <dgm:choose name="Name34">
              <dgm:if name="Name35" func="var" arg="dir" op="equ" val="norm">
                <dgm:constrLst>
                  <dgm:constr type="rMarg"/>
                  <dgm:constr type="lMarg" refType="primFontSz" fact="0.2"/>
                  <dgm:constr type="tMarg"/>
                  <dgm:constr type="bMarg"/>
                </dgm:constrLst>
              </dgm:if>
              <dgm:else name="Name36">
                <dgm:constrLst>
                  <dgm:constr type="lMarg"/>
                  <dgm:constr type="rMarg" refType="primFontSz" fact="0.2"/>
                  <dgm:constr type="tMarg"/>
                  <dgm:constr type="bMarg"/>
                </dgm:constrLst>
              </dgm:else>
            </dgm:choose>
            <dgm:ruleLst>
              <dgm:rule type="primFontSz" val="5" fact="NaN" max="NaN"/>
            </dgm:ruleLst>
          </dgm:layoutNode>
        </dgm:layoutNode>
        <dgm:layoutNode name="desBackupRightNorm">
          <dgm:alg type="sp"/>
          <dgm:shape xmlns:r="http://schemas.openxmlformats.org/officeDocument/2006/relationships" r:blip="">
            <dgm:adjLst/>
          </dgm:shape>
          <dgm:presOf/>
        </dgm:layoutNode>
        <dgm:choose name="Name37">
          <dgm:if name="Name38" func="var" arg="dir" op="neq" val="norm">
            <dgm:choose name="Name39">
              <dgm:if name="Name40" axis="self" ptType="node" func="revPos" op="neq" val="1">
                <dgm:layoutNode name="desBackupLeftRev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41"/>
            </dgm:choose>
          </dgm:if>
          <dgm:else name="Name42"/>
        </dgm:choose>
        <dgm:forEach name="Name43" axis="followSib" ptType="sibTrans" hideLastTrans="0" cnt="1">
          <dgm:layoutNode name="desSpace">
            <dgm:alg type="sp"/>
            <dgm:shape xmlns:r="http://schemas.openxmlformats.org/officeDocument/2006/relationships" r:blip="">
              <dgm:adjLst/>
            </dgm:shape>
            <dgm:presOf/>
          </dgm:layoutNode>
        </dgm:forEach>
      </dgm:forEach>
      <dgm:choose name="Name44">
        <dgm:if name="Name45" func="var" arg="dir" op="neq" val="norm">
          <dgm:layoutNode name="parBackupRev">
            <dgm:alg type="sp"/>
            <dgm:shape xmlns:r="http://schemas.openxmlformats.org/officeDocument/2006/relationships" r:blip="">
              <dgm:adjLst/>
            </dgm:shape>
            <dgm:presOf/>
          </dgm:layoutNode>
        </dgm:if>
        <dgm:else name="Name46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4D65EC-5F7C-4E21-BDFD-97DA0CF1B72D}" type="datetimeFigureOut">
              <a:rPr lang="pt-BR" smtClean="0"/>
              <a:t>25/09/2017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C97045-DDCF-4F6C-8777-D657871AC19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734548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C97045-DDCF-4F6C-8777-D657871AC191}" type="slidenum">
              <a:rPr lang="pt-BR" smtClean="0"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981451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C97045-DDCF-4F6C-8777-D657871AC191}" type="slidenum">
              <a:rPr lang="pt-BR" smtClean="0"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410073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C97045-DDCF-4F6C-8777-D657871AC191}" type="slidenum">
              <a:rPr lang="pt-BR" smtClean="0"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145331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C97045-DDCF-4F6C-8777-D657871AC191}" type="slidenum">
              <a:rPr lang="pt-BR" smtClean="0"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728332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671B71-4A79-7E4C-8EA9-76B1FFE20320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09767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671B71-4A79-7E4C-8EA9-76B1FFE20320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169013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671B71-4A79-7E4C-8EA9-76B1FFE20320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76671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671B71-4A79-7E4C-8EA9-76B1FFE20320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3941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 smtClean="0"/>
              <a:t>Clique para editar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AA1F9-FA46-AF44-A0B8-EC0146313DB9}" type="datetimeFigureOut">
              <a:rPr lang="pt-BR" smtClean="0"/>
              <a:t>25/09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12F1E8-04BA-0245-AD1D-9278A4CB5BC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424059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s estilos de texto mestres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AA1F9-FA46-AF44-A0B8-EC0146313DB9}" type="datetimeFigureOut">
              <a:rPr lang="pt-BR" smtClean="0"/>
              <a:t>25/09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12F1E8-04BA-0245-AD1D-9278A4CB5BC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87327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 smtClean="0"/>
              <a:t>Clique para editar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 smtClean="0"/>
              <a:t>Clique para editar os estilos de texto mestres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AA1F9-FA46-AF44-A0B8-EC0146313DB9}" type="datetimeFigureOut">
              <a:rPr lang="pt-BR" smtClean="0"/>
              <a:t>25/09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12F1E8-04BA-0245-AD1D-9278A4CB5BC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865792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echamen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1229896" y="2949967"/>
            <a:ext cx="246237" cy="492420"/>
          </a:xfrm>
          <a:prstGeom prst="rect">
            <a:avLst/>
          </a:prstGeom>
          <a:noFill/>
        </p:spPr>
        <p:txBody>
          <a:bodyPr wrap="none" lIns="121896" tIns="60949" rIns="121896" bIns="60949" rtlCol="0">
            <a:spAutoFit/>
          </a:bodyPr>
          <a:lstStyle/>
          <a:p>
            <a:pPr defTabSz="609463"/>
            <a:endParaRPr lang="en-US" sz="2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87875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43449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195663" y="6331975"/>
            <a:ext cx="957255" cy="319981"/>
          </a:xfrm>
          <a:prstGeom prst="rect">
            <a:avLst/>
          </a:prstGeom>
        </p:spPr>
        <p:txBody>
          <a:bodyPr/>
          <a:lstStyle/>
          <a:p>
            <a:pPr algn="ctr" defTabSz="609585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defTabSz="609585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0874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11744917" y="6488756"/>
            <a:ext cx="408000" cy="163200"/>
          </a:xfrm>
          <a:prstGeom prst="rect">
            <a:avLst/>
          </a:prstGeom>
          <a:noFill/>
        </p:spPr>
        <p:txBody>
          <a:bodyPr/>
          <a:lstStyle/>
          <a:p>
            <a:pPr algn="ctr" defTabSz="609585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defTabSz="609585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22125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609585"/>
            <a:fld id="{5F6F597C-7282-4B68-8635-1AB4C1CF1A07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 defTabSz="609585"/>
              <a:t>26/09/2017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pPr defTabSz="609585"/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609585"/>
            <a:fld id="{B1EA5310-A1A2-4A74-BE06-D50AF2203BA9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 defTabSz="609585"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821779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4418" y="366185"/>
            <a:ext cx="7487807" cy="1045633"/>
          </a:xfrm>
          <a:prstGeom prst="rect">
            <a:avLst/>
          </a:prstGeom>
        </p:spPr>
        <p:txBody>
          <a:bodyPr/>
          <a:lstStyle>
            <a:lvl1pPr>
              <a:defRPr sz="4267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599" y="6501342"/>
            <a:ext cx="10382943" cy="2879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609585"/>
            <a:r>
              <a:rPr lang="pt-BR" smtClean="0">
                <a:solidFill>
                  <a:srgbClr val="1F497D"/>
                </a:solidFill>
              </a:rPr>
              <a:t>MATERIAL CONFIDENCIAL  |  SLIDE Nº</a:t>
            </a:r>
            <a:endParaRPr lang="pt-BR" dirty="0">
              <a:solidFill>
                <a:srgbClr val="1F497D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92544" y="6501342"/>
            <a:ext cx="589856" cy="2879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609585"/>
            <a:fld id="{74850952-3374-434C-8FC6-DE28F8CD25B0}" type="slidenum">
              <a:rPr lang="pt-BR" smtClean="0">
                <a:solidFill>
                  <a:srgbClr val="1F497D"/>
                </a:solidFill>
              </a:rPr>
              <a:pPr defTabSz="609585"/>
              <a:t>‹nº›</a:t>
            </a:fld>
            <a:endParaRPr lang="pt-BR" dirty="0">
              <a:solidFill>
                <a:srgbClr val="1F49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291236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24418" y="366186"/>
            <a:ext cx="10943167" cy="950381"/>
          </a:xfrm>
          <a:prstGeom prst="rect">
            <a:avLst/>
          </a:prstGeo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24419" y="1892301"/>
            <a:ext cx="5183715" cy="461009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383867" y="1892301"/>
            <a:ext cx="5183717" cy="46101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599" y="6501342"/>
            <a:ext cx="10382943" cy="2879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609585"/>
            <a:r>
              <a:rPr lang="pt-BR" smtClean="0">
                <a:solidFill>
                  <a:srgbClr val="1F497D"/>
                </a:solidFill>
              </a:rPr>
              <a:t>MATERIAL CONFIDENCIAL  |  SLIDE Nº</a:t>
            </a:r>
            <a:endParaRPr lang="pt-BR" dirty="0">
              <a:solidFill>
                <a:srgbClr val="1F497D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92544" y="6501342"/>
            <a:ext cx="589856" cy="2879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609585"/>
            <a:fld id="{74850952-3374-434C-8FC6-DE28F8CD25B0}" type="slidenum">
              <a:rPr lang="pt-BR" smtClean="0">
                <a:solidFill>
                  <a:srgbClr val="1F497D"/>
                </a:solidFill>
              </a:rPr>
              <a:pPr defTabSz="609585"/>
              <a:t>‹nº›</a:t>
            </a:fld>
            <a:endParaRPr lang="pt-BR" dirty="0">
              <a:solidFill>
                <a:srgbClr val="1F497D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24418" y="1316336"/>
            <a:ext cx="10943167" cy="48048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800"/>
              </a:lnSpc>
              <a:buNone/>
              <a:defRPr sz="2667">
                <a:solidFill>
                  <a:srgbClr val="4D4D4D"/>
                </a:solidFill>
              </a:defRPr>
            </a:lvl1pPr>
            <a:lvl2pPr marL="251876" indent="0">
              <a:buNone/>
              <a:defRPr sz="2800">
                <a:solidFill>
                  <a:schemeClr val="accent3"/>
                </a:solidFill>
              </a:defRPr>
            </a:lvl2pPr>
            <a:lvl3pPr marL="486821" indent="0">
              <a:buNone/>
              <a:defRPr sz="2800">
                <a:solidFill>
                  <a:schemeClr val="accent3"/>
                </a:solidFill>
              </a:defRPr>
            </a:lvl3pPr>
            <a:lvl4pPr marL="721765" indent="0">
              <a:buNone/>
              <a:defRPr sz="2800">
                <a:solidFill>
                  <a:schemeClr val="accent3"/>
                </a:solidFill>
              </a:defRPr>
            </a:lvl4pPr>
            <a:lvl5pPr marL="956709" indent="0">
              <a:buNone/>
              <a:defRPr sz="28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4156414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294967295" pos="3016">
          <p15:clr>
            <a:srgbClr val="FBAE40"/>
          </p15:clr>
        </p15:guide>
        <p15:guide id="4294967295" pos="2744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6" y="1846615"/>
            <a:ext cx="9308889" cy="14577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67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.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 smtClean="0"/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1"/>
            <a:ext cx="9308889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800"/>
              </a:lnSpc>
              <a:defRPr sz="4800" baseline="0">
                <a:solidFill>
                  <a:srgbClr val="FF6D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</a:t>
            </a:r>
            <a:endParaRPr lang="en-US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30716" y="5193884"/>
            <a:ext cx="9308889" cy="901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67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.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 smtClean="0"/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7" name="Title 1"/>
          <p:cNvSpPr txBox="1">
            <a:spLocks/>
          </p:cNvSpPr>
          <p:nvPr userDrawn="1"/>
        </p:nvSpPr>
        <p:spPr>
          <a:xfrm>
            <a:off x="430717" y="3703689"/>
            <a:ext cx="9308889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 baseline="0">
                <a:solidFill>
                  <a:srgbClr val="FF6D00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4800" dirty="0" err="1" smtClean="0">
                <a:solidFill>
                  <a:srgbClr val="EA288C"/>
                </a:solidFill>
              </a:rPr>
              <a:t>Insira</a:t>
            </a:r>
            <a:r>
              <a:rPr lang="en-US" sz="4800" dirty="0" smtClean="0">
                <a:solidFill>
                  <a:srgbClr val="EA288C"/>
                </a:solidFill>
              </a:rPr>
              <a:t> o </a:t>
            </a:r>
            <a:r>
              <a:rPr lang="en-US" sz="4800" dirty="0" err="1" smtClean="0">
                <a:solidFill>
                  <a:srgbClr val="EA288C"/>
                </a:solidFill>
              </a:rPr>
              <a:t>Título</a:t>
            </a:r>
            <a:r>
              <a:rPr lang="en-US" sz="4800" dirty="0" smtClean="0">
                <a:solidFill>
                  <a:srgbClr val="EA288C"/>
                </a:solidFill>
              </a:rPr>
              <a:t> do </a:t>
            </a:r>
            <a:r>
              <a:rPr lang="en-US" sz="4800" dirty="0" err="1" smtClean="0">
                <a:solidFill>
                  <a:srgbClr val="EA288C"/>
                </a:solidFill>
              </a:rPr>
              <a:t>projeto</a:t>
            </a:r>
            <a:r>
              <a:rPr lang="en-US" sz="4800" dirty="0" smtClean="0">
                <a:solidFill>
                  <a:srgbClr val="EA288C"/>
                </a:solidFill>
              </a:rPr>
              <a:t> </a:t>
            </a:r>
            <a:r>
              <a:rPr lang="en-US" sz="4800" dirty="0" err="1" smtClean="0">
                <a:solidFill>
                  <a:srgbClr val="EA288C"/>
                </a:solidFill>
              </a:rPr>
              <a:t>aqui</a:t>
            </a:r>
            <a:r>
              <a:rPr lang="en-US" sz="4800" dirty="0" smtClean="0">
                <a:solidFill>
                  <a:srgbClr val="EA288C"/>
                </a:solidFill>
              </a:rPr>
              <a:t>. </a:t>
            </a:r>
            <a:r>
              <a:rPr lang="en-US" sz="4800" dirty="0" err="1" smtClean="0">
                <a:solidFill>
                  <a:srgbClr val="EA288C"/>
                </a:solidFill>
              </a:rPr>
              <a:t>Lorem</a:t>
            </a:r>
            <a:r>
              <a:rPr lang="en-US" sz="4800" dirty="0" smtClean="0">
                <a:solidFill>
                  <a:srgbClr val="EA288C"/>
                </a:solidFill>
              </a:rPr>
              <a:t> </a:t>
            </a:r>
            <a:r>
              <a:rPr lang="en-US" sz="4800" dirty="0" err="1" smtClean="0">
                <a:solidFill>
                  <a:srgbClr val="EA288C"/>
                </a:solidFill>
              </a:rPr>
              <a:t>ipsum</a:t>
            </a:r>
            <a:r>
              <a:rPr lang="en-US" sz="4800" dirty="0" smtClean="0">
                <a:solidFill>
                  <a:srgbClr val="EA288C"/>
                </a:solidFill>
              </a:rPr>
              <a:t> dolor sit</a:t>
            </a:r>
            <a:endParaRPr lang="en-US" sz="4800" dirty="0">
              <a:solidFill>
                <a:srgbClr val="EA288C"/>
              </a:solidFill>
            </a:endParaRPr>
          </a:p>
        </p:txBody>
      </p:sp>
      <p:sp>
        <p:nvSpPr>
          <p:cNvPr id="1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816806" y="6232588"/>
            <a:ext cx="2846591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333" baseline="0">
                <a:solidFill>
                  <a:srgbClr val="4D4D4D"/>
                </a:solidFill>
              </a:defRPr>
            </a:lvl1pPr>
          </a:lstStyle>
          <a:p>
            <a:pPr defTabSz="609585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609585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1364405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s estilos de texto mestres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AA1F9-FA46-AF44-A0B8-EC0146313DB9}" type="datetimeFigureOut">
              <a:rPr lang="pt-BR" smtClean="0"/>
              <a:t>25/09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12F1E8-04BA-0245-AD1D-9278A4CB5BC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150180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4"/>
          <p:cNvSpPr txBox="1">
            <a:spLocks/>
          </p:cNvSpPr>
          <p:nvPr userDrawn="1"/>
        </p:nvSpPr>
        <p:spPr>
          <a:xfrm>
            <a:off x="8816806" y="6232588"/>
            <a:ext cx="2846591" cy="365125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3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z="1333" smtClean="0">
                <a:latin typeface="Simplon BP Bold"/>
                <a:cs typeface="Simplon BP Bold"/>
              </a:rPr>
              <a:pPr/>
              <a:t>‹nº›</a:t>
            </a:fld>
            <a:endParaRPr lang="en-US" sz="1333" dirty="0">
              <a:latin typeface="Simplon BP Bold"/>
              <a:cs typeface="Simplon BP Bold"/>
            </a:endParaRP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430718" y="3196073"/>
            <a:ext cx="8114069" cy="202735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67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7" y="2436252"/>
            <a:ext cx="8114071" cy="3861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609585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1"/>
            <a:ext cx="8114069" cy="1759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800"/>
              </a:lnSpc>
              <a:defRPr sz="4800" baseline="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slide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pic>
        <p:nvPicPr>
          <p:cNvPr id="16" name="Picture 15" descr="marca4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4135" y="4093632"/>
            <a:ext cx="1784096" cy="1719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78870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 smtClean="0"/>
              <a:t>Clique para editar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s estilos de texto mestres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AA1F9-FA46-AF44-A0B8-EC0146313DB9}" type="datetimeFigureOut">
              <a:rPr lang="pt-BR" smtClean="0"/>
              <a:t>25/09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12F1E8-04BA-0245-AD1D-9278A4CB5BC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716882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 smtClean="0"/>
              <a:t>Clique para editar os estilos de texto mestres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 smtClean="0"/>
              <a:t>Clique para editar os estilos de texto mestres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AA1F9-FA46-AF44-A0B8-EC0146313DB9}" type="datetimeFigureOut">
              <a:rPr lang="pt-BR" smtClean="0"/>
              <a:t>25/09/2017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12F1E8-04BA-0245-AD1D-9278A4CB5BC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277865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 smtClean="0"/>
              <a:t>Clique para editar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e texto mestres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 smtClean="0"/>
              <a:t>Clique para editar os estilos de texto mestres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e texto mestres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 smtClean="0"/>
              <a:t>Clique para editar os estilos de texto mestres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AA1F9-FA46-AF44-A0B8-EC0146313DB9}" type="datetimeFigureOut">
              <a:rPr lang="pt-BR" smtClean="0"/>
              <a:t>25/09/2017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12F1E8-04BA-0245-AD1D-9278A4CB5BC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889745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estilo d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AA1F9-FA46-AF44-A0B8-EC0146313DB9}" type="datetimeFigureOut">
              <a:rPr lang="pt-BR" smtClean="0"/>
              <a:t>25/09/2017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12F1E8-04BA-0245-AD1D-9278A4CB5BC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639891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AA1F9-FA46-AF44-A0B8-EC0146313DB9}" type="datetimeFigureOut">
              <a:rPr lang="pt-BR" smtClean="0"/>
              <a:t>25/09/2017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12F1E8-04BA-0245-AD1D-9278A4CB5BC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482547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 smtClean="0"/>
              <a:t>Clique para editar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e texto mestres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 smtClean="0"/>
              <a:t>Clique para editar os estilos de texto mestres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AA1F9-FA46-AF44-A0B8-EC0146313DB9}" type="datetimeFigureOut">
              <a:rPr lang="pt-BR" smtClean="0"/>
              <a:t>25/09/2017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12F1E8-04BA-0245-AD1D-9278A4CB5BC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298170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 smtClean="0"/>
              <a:t>Clique para editar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 smtClean="0"/>
              <a:t>Clique para editar os estilos de texto mestres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AA1F9-FA46-AF44-A0B8-EC0146313DB9}" type="datetimeFigureOut">
              <a:rPr lang="pt-BR" smtClean="0"/>
              <a:t>25/09/2017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12F1E8-04BA-0245-AD1D-9278A4CB5BC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927628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s estilos de texto mestres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DBAA1F9-FA46-AF44-A0B8-EC0146313DB9}" type="datetimeFigureOut">
              <a:rPr lang="pt-BR" smtClean="0"/>
              <a:t>25/09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312F1E8-04BA-0245-AD1D-9278A4CB5BC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652543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5449031" y="818709"/>
            <a:ext cx="12192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609585">
              <a:lnSpc>
                <a:spcPts val="2400"/>
              </a:lnSpc>
              <a:spcBef>
                <a:spcPts val="1067"/>
              </a:spcBef>
            </a:pPr>
            <a:endParaRPr lang="en-US" sz="2133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4118981" y="21995"/>
            <a:ext cx="4004200" cy="27420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609585">
              <a:lnSpc>
                <a:spcPts val="7466"/>
              </a:lnSpc>
              <a:spcBef>
                <a:spcPts val="1067"/>
              </a:spcBef>
            </a:pPr>
            <a:r>
              <a:rPr lang="en-US" sz="7466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7466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7466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7466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4069811" y="3108297"/>
            <a:ext cx="3652352" cy="146970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609585">
              <a:lnSpc>
                <a:spcPts val="3733"/>
              </a:lnSpc>
            </a:pPr>
            <a:r>
              <a:rPr lang="en-US" sz="3733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 defTabSz="609585">
              <a:lnSpc>
                <a:spcPts val="3733"/>
              </a:lnSpc>
            </a:pPr>
            <a:r>
              <a:rPr lang="en-US" sz="3733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4069811" y="4824488"/>
            <a:ext cx="3652352" cy="3952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609585">
              <a:lnSpc>
                <a:spcPts val="1867"/>
              </a:lnSpc>
            </a:pPr>
            <a:r>
              <a:rPr lang="en-US" sz="1867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867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3344424" y="412105"/>
            <a:ext cx="1182176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09585"/>
            <a:r>
              <a:rPr lang="pt-BR" sz="16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pPr defTabSz="609585"/>
            <a:endParaRPr lang="en-US" sz="16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609585"/>
            <a:endParaRPr lang="en-US" sz="16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609585"/>
            <a:r>
              <a:rPr lang="en-US" sz="16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pPr defTabSz="609585"/>
            <a:endParaRPr lang="en-US" sz="16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609585"/>
            <a:endParaRPr lang="en-US" sz="16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609585"/>
            <a:r>
              <a:rPr lang="en-US" sz="16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pPr defTabSz="609585"/>
            <a:endParaRPr lang="en-US" sz="16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609585"/>
            <a:endParaRPr lang="en-US" sz="16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609585"/>
            <a:r>
              <a:rPr lang="en-US" sz="16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pPr defTabSz="609585"/>
            <a:endParaRPr lang="en-US" sz="16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609585"/>
            <a:endParaRPr lang="en-US" sz="16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609585"/>
            <a:r>
              <a:rPr lang="en-US" sz="16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pPr defTabSz="609585"/>
            <a:endParaRPr lang="en-US" sz="16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609585"/>
            <a:endParaRPr lang="en-US" sz="16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609585"/>
            <a:r>
              <a:rPr lang="en-US" sz="16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pPr defTabSz="609585"/>
            <a:endParaRPr lang="en-US" sz="16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609585"/>
            <a:endParaRPr lang="en-US" sz="16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609585"/>
            <a:r>
              <a:rPr lang="en-US" sz="16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6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3355795" y="1447391"/>
            <a:ext cx="180800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09585"/>
            <a:r>
              <a:rPr lang="en-US" sz="16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6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3355795" y="718297"/>
            <a:ext cx="180800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09585">
              <a:defRPr/>
            </a:pPr>
            <a:r>
              <a:rPr lang="en-US" sz="16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6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3355795" y="2129231"/>
            <a:ext cx="180800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09585"/>
            <a:r>
              <a:rPr lang="en-US" sz="16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6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3355795" y="2868739"/>
            <a:ext cx="180800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09585"/>
            <a:r>
              <a:rPr lang="en-US" sz="16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6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3355795" y="3611613"/>
            <a:ext cx="180800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09585"/>
            <a:r>
              <a:rPr lang="en-US" sz="16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6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3355795" y="4379202"/>
            <a:ext cx="180800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09585"/>
            <a:r>
              <a:rPr lang="en-US" sz="16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6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9232" y="4070931"/>
            <a:ext cx="950384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12419232" y="3339166"/>
            <a:ext cx="950384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12419232" y="2607401"/>
            <a:ext cx="950384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12419232" y="1875635"/>
            <a:ext cx="950384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12419232" y="1143870"/>
            <a:ext cx="950384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12419232" y="412105"/>
            <a:ext cx="950384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3355795" y="5124105"/>
            <a:ext cx="180800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09585"/>
            <a:r>
              <a:rPr lang="en-US" sz="16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6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12419232" y="4815834"/>
            <a:ext cx="950384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12419233" y="18477"/>
            <a:ext cx="1642481" cy="3498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609585">
              <a:spcBef>
                <a:spcPts val="1067"/>
              </a:spcBef>
            </a:pPr>
            <a:r>
              <a:rPr lang="en-US" sz="2133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2133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2133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9090" y="7016177"/>
            <a:ext cx="8430251" cy="3498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609585">
              <a:spcBef>
                <a:spcPts val="1067"/>
              </a:spcBef>
            </a:pPr>
            <a:r>
              <a:rPr lang="en-US" sz="2133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2133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2133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2133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2133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2133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2133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2133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2133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2133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2133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7391402"/>
            <a:ext cx="2952752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8140055"/>
            <a:ext cx="950384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1001183" y="8140054"/>
            <a:ext cx="950384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2002367" y="8140053"/>
            <a:ext cx="950384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3224743" y="7391402"/>
            <a:ext cx="2952752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3224741" y="8140055"/>
            <a:ext cx="950384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4225925" y="8140054"/>
            <a:ext cx="950384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5227109" y="8140053"/>
            <a:ext cx="950384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6418793" y="7391399"/>
            <a:ext cx="2952752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6418792" y="8140053"/>
            <a:ext cx="950384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7419976" y="8140051"/>
            <a:ext cx="950384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8421161" y="8140055"/>
            <a:ext cx="950384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6247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609585" rtl="0" eaLnBrk="1" latinLnBrk="0" hangingPunct="1">
        <a:lnSpc>
          <a:spcPts val="3200"/>
        </a:lnSpc>
        <a:spcBef>
          <a:spcPts val="1467"/>
        </a:spcBef>
        <a:buNone/>
        <a:defRPr sz="2933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609585" rtl="0" eaLnBrk="1" latinLnBrk="0" hangingPunct="1">
        <a:lnSpc>
          <a:spcPts val="2667"/>
        </a:lnSpc>
        <a:spcBef>
          <a:spcPts val="1200"/>
        </a:spcBef>
        <a:buFont typeface="Arial"/>
        <a:buNone/>
        <a:defRPr sz="24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234945" indent="-234945" algn="l" defTabSz="609585" rtl="0" eaLnBrk="1" latinLnBrk="0" hangingPunct="1">
        <a:lnSpc>
          <a:spcPts val="2667"/>
        </a:lnSpc>
        <a:spcBef>
          <a:spcPts val="1200"/>
        </a:spcBef>
        <a:buSzPct val="50000"/>
        <a:buFont typeface="Arial"/>
        <a:buChar char="•"/>
        <a:tabLst/>
        <a:defRPr sz="24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1219170" indent="0" algn="l" defTabSz="609585" rtl="0" eaLnBrk="1" latinLnBrk="0" hangingPunct="1">
        <a:lnSpc>
          <a:spcPts val="2933"/>
        </a:lnSpc>
        <a:spcBef>
          <a:spcPts val="0"/>
        </a:spcBef>
        <a:buFont typeface="Arial"/>
        <a:buNone/>
        <a:defRPr sz="2133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828754" indent="0" algn="l" defTabSz="609585" rtl="0" eaLnBrk="1" latinLnBrk="0" hangingPunct="1">
        <a:lnSpc>
          <a:spcPts val="2933"/>
        </a:lnSpc>
        <a:spcBef>
          <a:spcPts val="0"/>
        </a:spcBef>
        <a:buFont typeface="Arial"/>
        <a:buNone/>
        <a:defRPr sz="1867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2438339" indent="0" algn="l" defTabSz="609585" rtl="0" eaLnBrk="1" latinLnBrk="0" hangingPunct="1">
        <a:lnSpc>
          <a:spcPts val="2933"/>
        </a:lnSpc>
        <a:spcBef>
          <a:spcPts val="0"/>
        </a:spcBef>
        <a:buFont typeface="Arial"/>
        <a:buNone/>
        <a:defRPr sz="1867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4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6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4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4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2"/>
          <p:cNvSpPr txBox="1">
            <a:spLocks/>
          </p:cNvSpPr>
          <p:nvPr/>
        </p:nvSpPr>
        <p:spPr>
          <a:xfrm>
            <a:off x="743940" y="1015255"/>
            <a:ext cx="7088195" cy="282991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/>
          <a:lstStyle>
            <a:lvl1pPr algn="l" defTabSz="4571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 baseline="0">
                <a:solidFill>
                  <a:srgbClr val="FFFFFF"/>
                </a:solidFill>
                <a:latin typeface="Arial"/>
                <a:ea typeface="+mj-ea"/>
                <a:cs typeface="Arial"/>
              </a:defRPr>
            </a:lvl1pPr>
          </a:lstStyle>
          <a:p>
            <a:pPr>
              <a:spcBef>
                <a:spcPct val="20000"/>
              </a:spcBef>
            </a:pPr>
            <a:r>
              <a:rPr lang="pt-BR" sz="4267" b="1" dirty="0" smtClean="0">
                <a:solidFill>
                  <a:srgbClr val="FF6D00"/>
                </a:solidFill>
                <a:latin typeface="Simplon Oi Headline"/>
                <a:cs typeface="Simplon Oi Headline"/>
              </a:rPr>
              <a:t>PROJETO NOVO RAID-FMS</a:t>
            </a:r>
            <a:endParaRPr lang="pt-BR" sz="4267" b="1" dirty="0">
              <a:solidFill>
                <a:srgbClr val="FF6D00"/>
              </a:solidFill>
              <a:latin typeface="Simplon Oi Headline"/>
              <a:cs typeface="Simplon Oi Headline"/>
            </a:endParaRPr>
          </a:p>
          <a:p>
            <a:pPr>
              <a:spcBef>
                <a:spcPct val="20000"/>
              </a:spcBef>
            </a:pPr>
            <a:endParaRPr lang="pt-BR" sz="4267" b="1" dirty="0">
              <a:solidFill>
                <a:srgbClr val="FF6D00"/>
              </a:solidFill>
              <a:latin typeface="Simplon Oi Headline"/>
              <a:cs typeface="Simplon Oi Headline"/>
            </a:endParaRPr>
          </a:p>
          <a:p>
            <a:pPr>
              <a:spcBef>
                <a:spcPct val="20000"/>
              </a:spcBef>
            </a:pPr>
            <a:r>
              <a:rPr lang="pt-BR" sz="3200" b="1" dirty="0" smtClean="0">
                <a:solidFill>
                  <a:srgbClr val="FF6D00"/>
                </a:solidFill>
                <a:latin typeface="Simplon Oi Headline"/>
                <a:cs typeface="Simplon Oi Headline"/>
              </a:rPr>
              <a:t>25/09/17</a:t>
            </a:r>
            <a:endParaRPr lang="pt-BR" sz="3200" b="1" dirty="0">
              <a:solidFill>
                <a:srgbClr val="FF6D00"/>
              </a:solidFill>
              <a:latin typeface="Simplon Oi Headline"/>
              <a:cs typeface="Simplon Oi Headline"/>
            </a:endParaRPr>
          </a:p>
        </p:txBody>
      </p:sp>
    </p:spTree>
    <p:extLst>
      <p:ext uri="{BB962C8B-B14F-4D97-AF65-F5344CB8AC3E}">
        <p14:creationId xmlns:p14="http://schemas.microsoft.com/office/powerpoint/2010/main" val="2012477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to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22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22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21928" y="-47621"/>
            <a:ext cx="11905323" cy="800760"/>
          </a:xfrm>
        </p:spPr>
        <p:txBody>
          <a:bodyPr>
            <a:normAutofit fontScale="90000"/>
          </a:bodyPr>
          <a:lstStyle/>
          <a:p>
            <a:pPr>
              <a:lnSpc>
                <a:spcPts val="5600"/>
              </a:lnSpc>
              <a:spcBef>
                <a:spcPts val="0"/>
              </a:spcBef>
            </a:pPr>
            <a:r>
              <a:rPr lang="pt-BR" sz="2400" dirty="0">
                <a:solidFill>
                  <a:srgbClr val="A02BFF"/>
                </a:solidFill>
                <a:latin typeface="Simplon Oi Headline"/>
                <a:cs typeface="Simplon Oi Headline"/>
              </a:rPr>
              <a:t>Pontos de alinhamento – ti / negócio</a:t>
            </a:r>
          </a:p>
        </p:txBody>
      </p:sp>
      <p:sp>
        <p:nvSpPr>
          <p:cNvPr id="12" name="Retângulo de cantos arredondados 11"/>
          <p:cNvSpPr/>
          <p:nvPr/>
        </p:nvSpPr>
        <p:spPr>
          <a:xfrm>
            <a:off x="98989" y="684323"/>
            <a:ext cx="11951243" cy="5843477"/>
          </a:xfrm>
          <a:prstGeom prst="roundRect">
            <a:avLst>
              <a:gd name="adj" fmla="val 3147"/>
            </a:avLst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6000" tIns="48000" rIns="48000" bIns="4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067"/>
              </a:spcBef>
            </a:pP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Pontos de atenção para alinhamento do Projeto</a:t>
            </a:r>
          </a:p>
          <a:p>
            <a:pPr marL="457189" indent="-457189">
              <a:spcBef>
                <a:spcPts val="1067"/>
              </a:spcBef>
              <a:buFont typeface="+mj-lt"/>
              <a:buAutoNum type="arabicPeriod"/>
            </a:pP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Utilizar abordagem de entrega em Ondas (</a:t>
            </a:r>
            <a:r>
              <a:rPr lang="pt-BR" sz="1200" dirty="0" err="1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pré-definição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 de 23 ondas pelo usuário) priorizando maiores vulnerabilidades</a:t>
            </a:r>
          </a:p>
          <a:p>
            <a:pPr marL="457189" indent="-457189">
              <a:spcBef>
                <a:spcPts val="1067"/>
              </a:spcBef>
              <a:buFont typeface="+mj-lt"/>
              <a:buAutoNum type="arabicPeriod"/>
            </a:pP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Necessidade de alocação de times dedicados (GPs TI + GP Fornecedor + GP Negócio + PMO + RN + GT + </a:t>
            </a:r>
            <a:r>
              <a:rPr lang="pt-BR" sz="1200" dirty="0" err="1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LTs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 + </a:t>
            </a:r>
            <a:r>
              <a:rPr lang="pt-BR" sz="1200" dirty="0" err="1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RTs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 + Usuários + Técnicos Fornecedor) x recursos disponíveis</a:t>
            </a:r>
          </a:p>
          <a:p>
            <a:pPr marL="457189" indent="-457189">
              <a:spcBef>
                <a:spcPts val="1067"/>
              </a:spcBef>
              <a:buFont typeface="+mj-lt"/>
              <a:buAutoNum type="arabicPeriod"/>
            </a:pP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Infra-estrutura dedicada para condução dos trabalhos em localidades distintas (RJ/MG/Portugal), pois a expertise de antifraude da </a:t>
            </a:r>
            <a:r>
              <a:rPr lang="pt-BR" sz="1200" dirty="0" err="1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WeDo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 está em Portugal, o usuário principal está em BH e a Ti no Rio</a:t>
            </a:r>
          </a:p>
          <a:p>
            <a:pPr marL="457189" indent="-457189">
              <a:spcBef>
                <a:spcPts val="1067"/>
              </a:spcBef>
              <a:buFont typeface="+mj-lt"/>
              <a:buAutoNum type="arabicPeriod"/>
            </a:pP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Necessidade de levantamento de regras atuais (Engenharia Reversa)</a:t>
            </a:r>
          </a:p>
          <a:p>
            <a:pPr marL="457189" indent="-457189">
              <a:spcBef>
                <a:spcPts val="1067"/>
              </a:spcBef>
              <a:buFont typeface="+mj-lt"/>
              <a:buAutoNum type="arabicPeriod"/>
            </a:pP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Concorrência e sinergia com outros Projetos (Credito, Oi Vende, Mediação, OCS, CRM </a:t>
            </a:r>
            <a:r>
              <a:rPr lang="pt-BR" sz="1200" dirty="0" err="1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Cloud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, Unifica)</a:t>
            </a:r>
          </a:p>
          <a:p>
            <a:pPr marL="457189" indent="-457189">
              <a:spcBef>
                <a:spcPts val="1067"/>
              </a:spcBef>
              <a:buFont typeface="+mj-lt"/>
              <a:buAutoNum type="arabicPeriod"/>
            </a:pP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Necessidade de trabalho de </a:t>
            </a:r>
            <a:r>
              <a:rPr lang="pt-BR" sz="1200" dirty="0" err="1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scoping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 e modelagem de processos nas áreas de negócio (Usuário) - consultoria</a:t>
            </a:r>
          </a:p>
          <a:p>
            <a:pPr marL="457189" indent="-457189">
              <a:spcBef>
                <a:spcPts val="1067"/>
              </a:spcBef>
              <a:buFont typeface="+mj-lt"/>
              <a:buAutoNum type="arabicPeriod"/>
            </a:pP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Impacto em processos estratégicos de negócio - Vendas</a:t>
            </a:r>
          </a:p>
          <a:p>
            <a:pPr marL="457189" indent="-457189">
              <a:spcBef>
                <a:spcPts val="1067"/>
              </a:spcBef>
              <a:buFont typeface="+mj-lt"/>
              <a:buAutoNum type="arabicPeriod"/>
            </a:pP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Necessidade de integrações adicionais as já existentes e uso de big data</a:t>
            </a:r>
          </a:p>
          <a:p>
            <a:pPr>
              <a:spcBef>
                <a:spcPts val="1067"/>
              </a:spcBef>
            </a:pPr>
            <a:endParaRPr lang="pt-BR" sz="1200" dirty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  <a:p>
            <a:pPr>
              <a:spcBef>
                <a:spcPts val="1067"/>
              </a:spcBef>
            </a:pP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Reuniões de trabalho nas próximas duas semanas para posterior alinhamento executivo.</a:t>
            </a:r>
          </a:p>
          <a:p>
            <a:pPr>
              <a:spcBef>
                <a:spcPts val="1067"/>
              </a:spcBef>
            </a:pPr>
            <a:endParaRPr lang="pt-BR" sz="1867" b="1" dirty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77316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3" name="Straight Connector 461"/>
          <p:cNvCxnSpPr/>
          <p:nvPr/>
        </p:nvCxnSpPr>
        <p:spPr>
          <a:xfrm flipV="1">
            <a:off x="10150424" y="4208259"/>
            <a:ext cx="0" cy="783942"/>
          </a:xfrm>
          <a:prstGeom prst="line">
            <a:avLst/>
          </a:prstGeom>
          <a:noFill/>
          <a:ln w="12700" cap="flat" cmpd="sng" algn="ctr">
            <a:solidFill>
              <a:schemeClr val="accent4"/>
            </a:solidFill>
            <a:prstDash val="sysDash"/>
            <a:miter lim="800000"/>
            <a:headEnd type="oval"/>
          </a:ln>
          <a:effectLst/>
        </p:spPr>
      </p:cxnSp>
      <p:pic>
        <p:nvPicPr>
          <p:cNvPr id="25" name="Imagem 24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rgbClr val="00B2A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80241" y="-76976"/>
            <a:ext cx="788808" cy="78880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6" name="CaixaDeTexto 25"/>
          <p:cNvSpPr txBox="1"/>
          <p:nvPr/>
        </p:nvSpPr>
        <p:spPr>
          <a:xfrm>
            <a:off x="6278499" y="155640"/>
            <a:ext cx="53500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sz="2400" dirty="0" smtClean="0">
                <a:solidFill>
                  <a:srgbClr val="00B2A7"/>
                </a:solidFill>
                <a:latin typeface="Simplon Oi Headline" pitchFamily="2" charset="0"/>
              </a:rPr>
              <a:t>Draft – macro cronograma - 2017</a:t>
            </a:r>
            <a:endParaRPr lang="pt-BR" sz="2400" dirty="0">
              <a:solidFill>
                <a:srgbClr val="00B2A7"/>
              </a:solidFill>
              <a:latin typeface="Simplon Oi Headline" pitchFamily="2" charset="0"/>
            </a:endParaRPr>
          </a:p>
        </p:txBody>
      </p:sp>
      <p:sp>
        <p:nvSpPr>
          <p:cNvPr id="28" name="CaixaDeTexto 27"/>
          <p:cNvSpPr txBox="1"/>
          <p:nvPr/>
        </p:nvSpPr>
        <p:spPr>
          <a:xfrm>
            <a:off x="208831" y="127057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dirty="0" err="1" smtClean="0">
                <a:solidFill>
                  <a:schemeClr val="bg1"/>
                </a:solidFill>
                <a:latin typeface="Simplon Oi Headline" pitchFamily="2" charset="0"/>
              </a:rPr>
              <a:t>Billing</a:t>
            </a:r>
            <a:r>
              <a:rPr lang="pt-BR" sz="2000" dirty="0" smtClean="0">
                <a:solidFill>
                  <a:schemeClr val="bg1"/>
                </a:solidFill>
                <a:latin typeface="Simplon Oi Headline" pitchFamily="2" charset="0"/>
              </a:rPr>
              <a:t> e TV</a:t>
            </a:r>
            <a:endParaRPr lang="pt-BR" sz="2000" dirty="0">
              <a:solidFill>
                <a:schemeClr val="bg1"/>
              </a:solidFill>
              <a:latin typeface="Simplon Oi Headline" pitchFamily="2" charset="0"/>
            </a:endParaRPr>
          </a:p>
        </p:txBody>
      </p:sp>
      <p:sp>
        <p:nvSpPr>
          <p:cNvPr id="27" name="Paralelogramo 26"/>
          <p:cNvSpPr/>
          <p:nvPr/>
        </p:nvSpPr>
        <p:spPr>
          <a:xfrm>
            <a:off x="81651" y="58817"/>
            <a:ext cx="5855593" cy="818918"/>
          </a:xfrm>
          <a:prstGeom prst="parallelogram">
            <a:avLst/>
          </a:prstGeom>
          <a:solidFill>
            <a:srgbClr val="00B2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2" name="CaixaDeTexto 31"/>
          <p:cNvSpPr txBox="1"/>
          <p:nvPr/>
        </p:nvSpPr>
        <p:spPr>
          <a:xfrm>
            <a:off x="203372" y="194192"/>
            <a:ext cx="57338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 smtClean="0">
                <a:solidFill>
                  <a:schemeClr val="bg1"/>
                </a:solidFill>
                <a:latin typeface="Simplon Oi Headline" pitchFamily="2" charset="0"/>
              </a:rPr>
              <a:t>Upgrade tecnológico ICS</a:t>
            </a:r>
          </a:p>
        </p:txBody>
      </p:sp>
      <p:sp>
        <p:nvSpPr>
          <p:cNvPr id="14" name="TextBox 377"/>
          <p:cNvSpPr txBox="1"/>
          <p:nvPr/>
        </p:nvSpPr>
        <p:spPr>
          <a:xfrm>
            <a:off x="309763" y="2296875"/>
            <a:ext cx="5435951" cy="116955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00A596"/>
                </a:solidFill>
                <a:latin typeface="Calibri"/>
              </a:defRPr>
            </a:lvl1pPr>
          </a:lstStyle>
          <a:p>
            <a:pPr marL="285750" indent="-285750">
              <a:buFontTx/>
              <a:buChar char="-"/>
            </a:pPr>
            <a:r>
              <a:rPr lang="pt-BR" dirty="0" smtClean="0">
                <a:solidFill>
                  <a:schemeClr val="accent1">
                    <a:lumMod val="50000"/>
                  </a:schemeClr>
                </a:solidFill>
                <a:latin typeface="Simplon BP Regular" pitchFamily="2" charset="0"/>
              </a:rPr>
              <a:t>MOBILIZAÇÃO E ALOCAÇÃO DE TIME DEDICADO: TI, FÁBRICAS E MAPEAMENTO DE USUÁRIOS IMPACTADOS</a:t>
            </a:r>
          </a:p>
          <a:p>
            <a:pPr marL="285750" indent="-285750">
              <a:buFontTx/>
              <a:buChar char="-"/>
            </a:pPr>
            <a:r>
              <a:rPr lang="pt-BR" dirty="0" smtClean="0">
                <a:solidFill>
                  <a:schemeClr val="accent1">
                    <a:lumMod val="50000"/>
                  </a:schemeClr>
                </a:solidFill>
                <a:latin typeface="Simplon BP Regular" pitchFamily="2" charset="0"/>
              </a:rPr>
              <a:t>INICIO DO DESENHO DE ARQUITETURA DE INFRA E SEGURANÇA</a:t>
            </a:r>
          </a:p>
          <a:p>
            <a:pPr marL="285750" indent="-285750">
              <a:buFontTx/>
              <a:buChar char="-"/>
            </a:pPr>
            <a:r>
              <a:rPr lang="pt-BR" dirty="0" smtClean="0">
                <a:solidFill>
                  <a:schemeClr val="accent1">
                    <a:lumMod val="50000"/>
                  </a:schemeClr>
                </a:solidFill>
                <a:latin typeface="Simplon BP Regular" pitchFamily="2" charset="0"/>
              </a:rPr>
              <a:t>DETALHAMENTO DAS REGRAS DE MELHORIAS ENVIADAS PELO USUÁRIO DE CRÉDITO E COBRANÇA,</a:t>
            </a:r>
            <a:endParaRPr lang="id-ID" sz="1050" dirty="0">
              <a:solidFill>
                <a:schemeClr val="accent1">
                  <a:lumMod val="50000"/>
                </a:schemeClr>
              </a:solidFill>
            </a:endParaRPr>
          </a:p>
        </p:txBody>
      </p:sp>
      <p:grpSp>
        <p:nvGrpSpPr>
          <p:cNvPr id="19" name="Group 378"/>
          <p:cNvGrpSpPr/>
          <p:nvPr/>
        </p:nvGrpSpPr>
        <p:grpSpPr>
          <a:xfrm>
            <a:off x="-1" y="3386023"/>
            <a:ext cx="2995799" cy="897466"/>
            <a:chOff x="0" y="3285068"/>
            <a:chExt cx="1490133" cy="897466"/>
          </a:xfrm>
          <a:solidFill>
            <a:srgbClr val="2980B9"/>
          </a:solidFill>
        </p:grpSpPr>
        <p:sp>
          <p:nvSpPr>
            <p:cNvPr id="20" name="Rectangle 379"/>
            <p:cNvSpPr/>
            <p:nvPr/>
          </p:nvSpPr>
          <p:spPr>
            <a:xfrm>
              <a:off x="0" y="4000500"/>
              <a:ext cx="1490133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Rectangle 404"/>
            <p:cNvSpPr/>
            <p:nvPr/>
          </p:nvSpPr>
          <p:spPr>
            <a:xfrm>
              <a:off x="0" y="3285068"/>
              <a:ext cx="1490133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2" name="Group 405"/>
          <p:cNvGrpSpPr/>
          <p:nvPr/>
        </p:nvGrpSpPr>
        <p:grpSpPr>
          <a:xfrm>
            <a:off x="2995798" y="3386023"/>
            <a:ext cx="2927797" cy="897466"/>
            <a:chOff x="1490133" y="3285068"/>
            <a:chExt cx="2657032" cy="897466"/>
          </a:xfrm>
          <a:solidFill>
            <a:srgbClr val="16A085"/>
          </a:solidFill>
        </p:grpSpPr>
        <p:sp>
          <p:nvSpPr>
            <p:cNvPr id="23" name="Rectangle 406"/>
            <p:cNvSpPr/>
            <p:nvPr/>
          </p:nvSpPr>
          <p:spPr>
            <a:xfrm>
              <a:off x="1490133" y="4000500"/>
              <a:ext cx="265703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Rectangle 407"/>
            <p:cNvSpPr/>
            <p:nvPr/>
          </p:nvSpPr>
          <p:spPr>
            <a:xfrm>
              <a:off x="1490133" y="3285068"/>
              <a:ext cx="265703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9" name="Group 408"/>
          <p:cNvGrpSpPr/>
          <p:nvPr/>
        </p:nvGrpSpPr>
        <p:grpSpPr>
          <a:xfrm>
            <a:off x="5745714" y="3386023"/>
            <a:ext cx="2915597" cy="897466"/>
            <a:chOff x="4139707" y="3285068"/>
            <a:chExt cx="2743692" cy="897466"/>
          </a:xfrm>
          <a:solidFill>
            <a:srgbClr val="9BBB59"/>
          </a:solidFill>
        </p:grpSpPr>
        <p:sp>
          <p:nvSpPr>
            <p:cNvPr id="30" name="Rectangle 409"/>
            <p:cNvSpPr/>
            <p:nvPr/>
          </p:nvSpPr>
          <p:spPr>
            <a:xfrm>
              <a:off x="4139707" y="4000500"/>
              <a:ext cx="274369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Rectangle 410"/>
            <p:cNvSpPr/>
            <p:nvPr/>
          </p:nvSpPr>
          <p:spPr>
            <a:xfrm>
              <a:off x="4139707" y="3285068"/>
              <a:ext cx="274369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3" name="Group 411"/>
          <p:cNvGrpSpPr/>
          <p:nvPr/>
        </p:nvGrpSpPr>
        <p:grpSpPr>
          <a:xfrm>
            <a:off x="8661311" y="3386023"/>
            <a:ext cx="2652680" cy="897466"/>
            <a:chOff x="6883399" y="3285068"/>
            <a:chExt cx="3465378" cy="897466"/>
          </a:xfrm>
          <a:solidFill>
            <a:srgbClr val="F39C12"/>
          </a:solidFill>
        </p:grpSpPr>
        <p:sp>
          <p:nvSpPr>
            <p:cNvPr id="34" name="Rectangle 412"/>
            <p:cNvSpPr/>
            <p:nvPr/>
          </p:nvSpPr>
          <p:spPr>
            <a:xfrm>
              <a:off x="6883399" y="4000500"/>
              <a:ext cx="3465378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Rectangle 413"/>
            <p:cNvSpPr/>
            <p:nvPr/>
          </p:nvSpPr>
          <p:spPr>
            <a:xfrm>
              <a:off x="6883399" y="3285068"/>
              <a:ext cx="3465378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9" name="TextBox 417"/>
          <p:cNvSpPr txBox="1"/>
          <p:nvPr/>
        </p:nvSpPr>
        <p:spPr>
          <a:xfrm>
            <a:off x="903185" y="3652701"/>
            <a:ext cx="102463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2000" b="1" dirty="0" smtClean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AGOSTO</a:t>
            </a:r>
            <a:endParaRPr lang="id-ID" sz="2000" b="1" dirty="0">
              <a:solidFill>
                <a:prstClr val="white">
                  <a:lumMod val="50000"/>
                </a:prstClr>
              </a:solidFill>
              <a:latin typeface="Simplon BP Regular" pitchFamily="2" charset="0"/>
            </a:endParaRPr>
          </a:p>
        </p:txBody>
      </p:sp>
      <p:sp>
        <p:nvSpPr>
          <p:cNvPr id="40" name="TextBox 418"/>
          <p:cNvSpPr txBox="1"/>
          <p:nvPr/>
        </p:nvSpPr>
        <p:spPr>
          <a:xfrm>
            <a:off x="3748660" y="3652701"/>
            <a:ext cx="134684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2000" b="1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SETEMBRO</a:t>
            </a:r>
            <a:endParaRPr lang="id-ID" sz="2000" b="1" dirty="0">
              <a:solidFill>
                <a:prstClr val="white">
                  <a:lumMod val="50000"/>
                </a:prstClr>
              </a:solidFill>
              <a:latin typeface="Simplon BP Regular" pitchFamily="2" charset="0"/>
            </a:endParaRPr>
          </a:p>
        </p:txBody>
      </p:sp>
      <p:sp>
        <p:nvSpPr>
          <p:cNvPr id="41" name="TextBox 420"/>
          <p:cNvSpPr txBox="1"/>
          <p:nvPr/>
        </p:nvSpPr>
        <p:spPr>
          <a:xfrm>
            <a:off x="9327027" y="3671577"/>
            <a:ext cx="139974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2000" b="1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NOVEMBRO</a:t>
            </a:r>
            <a:endParaRPr lang="id-ID" sz="2000" b="1" dirty="0">
              <a:solidFill>
                <a:prstClr val="white">
                  <a:lumMod val="50000"/>
                </a:prstClr>
              </a:solidFill>
              <a:latin typeface="Simplon BP Regular" pitchFamily="2" charset="0"/>
            </a:endParaRPr>
          </a:p>
        </p:txBody>
      </p:sp>
      <p:cxnSp>
        <p:nvCxnSpPr>
          <p:cNvPr id="44" name="Straight Connector 424"/>
          <p:cNvCxnSpPr/>
          <p:nvPr/>
        </p:nvCxnSpPr>
        <p:spPr>
          <a:xfrm>
            <a:off x="294418" y="2360509"/>
            <a:ext cx="1" cy="1025514"/>
          </a:xfrm>
          <a:prstGeom prst="line">
            <a:avLst/>
          </a:prstGeom>
          <a:noFill/>
          <a:ln w="12700" cap="flat" cmpd="sng" algn="ctr">
            <a:solidFill>
              <a:srgbClr val="2980B9"/>
            </a:solidFill>
            <a:prstDash val="sysDash"/>
            <a:miter lim="800000"/>
            <a:headEnd type="oval"/>
          </a:ln>
          <a:effectLst/>
        </p:spPr>
      </p:cxnSp>
      <p:cxnSp>
        <p:nvCxnSpPr>
          <p:cNvPr id="49" name="Straight Connector 430"/>
          <p:cNvCxnSpPr/>
          <p:nvPr/>
        </p:nvCxnSpPr>
        <p:spPr>
          <a:xfrm flipH="1">
            <a:off x="5752366" y="2309059"/>
            <a:ext cx="1" cy="1076964"/>
          </a:xfrm>
          <a:prstGeom prst="line">
            <a:avLst/>
          </a:prstGeom>
          <a:noFill/>
          <a:ln w="12700" cap="flat" cmpd="sng" algn="ctr">
            <a:solidFill>
              <a:srgbClr val="16A085"/>
            </a:solidFill>
            <a:prstDash val="sysDash"/>
            <a:miter lim="800000"/>
            <a:headEnd type="oval"/>
          </a:ln>
          <a:effectLst/>
        </p:spPr>
      </p:cxnSp>
      <p:cxnSp>
        <p:nvCxnSpPr>
          <p:cNvPr id="59" name="Straight Connector 456"/>
          <p:cNvCxnSpPr/>
          <p:nvPr/>
        </p:nvCxnSpPr>
        <p:spPr>
          <a:xfrm>
            <a:off x="8695480" y="2309059"/>
            <a:ext cx="0" cy="1120539"/>
          </a:xfrm>
          <a:prstGeom prst="line">
            <a:avLst/>
          </a:prstGeom>
          <a:noFill/>
          <a:ln w="12700" cap="flat" cmpd="sng" algn="ctr">
            <a:solidFill>
              <a:srgbClr val="F39C12"/>
            </a:solidFill>
            <a:prstDash val="sysDash"/>
            <a:miter lim="800000"/>
            <a:headEnd type="oval"/>
          </a:ln>
          <a:effectLst/>
        </p:spPr>
      </p:cxnSp>
      <p:sp>
        <p:nvSpPr>
          <p:cNvPr id="71" name="TextBox 420"/>
          <p:cNvSpPr txBox="1"/>
          <p:nvPr/>
        </p:nvSpPr>
        <p:spPr>
          <a:xfrm>
            <a:off x="6273447" y="3650376"/>
            <a:ext cx="17638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OUTUBRO</a:t>
            </a:r>
            <a:endParaRPr lang="id-ID" sz="2000" b="1" dirty="0">
              <a:solidFill>
                <a:prstClr val="white">
                  <a:lumMod val="50000"/>
                </a:prstClr>
              </a:solidFill>
              <a:latin typeface="Simplon BP Regular" pitchFamily="2" charset="0"/>
            </a:endParaRPr>
          </a:p>
        </p:txBody>
      </p:sp>
      <p:cxnSp>
        <p:nvCxnSpPr>
          <p:cNvPr id="102" name="Straight Connector 424"/>
          <p:cNvCxnSpPr/>
          <p:nvPr/>
        </p:nvCxnSpPr>
        <p:spPr>
          <a:xfrm flipV="1">
            <a:off x="1088266" y="4225422"/>
            <a:ext cx="0" cy="204717"/>
          </a:xfrm>
          <a:prstGeom prst="line">
            <a:avLst/>
          </a:prstGeom>
          <a:noFill/>
          <a:ln w="12700" cap="flat" cmpd="sng" algn="ctr">
            <a:solidFill>
              <a:srgbClr val="2980B9"/>
            </a:solidFill>
            <a:prstDash val="sysDash"/>
            <a:miter lim="800000"/>
            <a:headEnd type="oval"/>
          </a:ln>
          <a:effectLst/>
        </p:spPr>
      </p:cxnSp>
      <p:sp>
        <p:nvSpPr>
          <p:cNvPr id="69" name="TextBox 455"/>
          <p:cNvSpPr txBox="1"/>
          <p:nvPr/>
        </p:nvSpPr>
        <p:spPr>
          <a:xfrm>
            <a:off x="32564" y="4457435"/>
            <a:ext cx="3229251" cy="2308324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 smtClean="0">
                <a:solidFill>
                  <a:srgbClr val="002060"/>
                </a:solidFill>
                <a:latin typeface="Simplon BP Regular" pitchFamily="2" charset="0"/>
              </a:rPr>
              <a:t>Agenda de reuniões junto ao fornecedor ( </a:t>
            </a:r>
            <a:r>
              <a:rPr lang="pt-BR" sz="1200" dirty="0" err="1" smtClean="0">
                <a:solidFill>
                  <a:srgbClr val="002060"/>
                </a:solidFill>
                <a:latin typeface="Simplon BP Regular" pitchFamily="2" charset="0"/>
              </a:rPr>
              <a:t>WeDo</a:t>
            </a:r>
            <a:r>
              <a:rPr lang="pt-BR" sz="1200" dirty="0" smtClean="0">
                <a:solidFill>
                  <a:srgbClr val="002060"/>
                </a:solidFill>
                <a:latin typeface="Simplon BP Regular" pitchFamily="2" charset="0"/>
              </a:rPr>
              <a:t> ) para definição das atividades do projeto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 smtClean="0">
                <a:solidFill>
                  <a:srgbClr val="002060"/>
                </a:solidFill>
                <a:latin typeface="Simplon BP Regular" pitchFamily="2" charset="0"/>
              </a:rPr>
              <a:t>Alinhamento com o time de Infra e segurança para definição de novo desenho de arquitetura  de Infr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 smtClean="0">
                <a:solidFill>
                  <a:srgbClr val="002060"/>
                </a:solidFill>
                <a:latin typeface="Simplon BP Regular" pitchFamily="2" charset="0"/>
              </a:rPr>
              <a:t>Agenda de reuniões com o time de gestão de testes para definição de estratégia e ambiente de testes dedicado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 smtClean="0">
                <a:solidFill>
                  <a:srgbClr val="002060"/>
                </a:solidFill>
                <a:latin typeface="Simplon BP Regular" pitchFamily="2" charset="0"/>
              </a:rPr>
              <a:t>Detalhamento e priorização das regras de melhorias junto ao usuário para serem entregues em paralelo ao Upgrade.</a:t>
            </a:r>
            <a:endParaRPr lang="pt-BR" sz="1200" dirty="0">
              <a:solidFill>
                <a:srgbClr val="002060"/>
              </a:solidFill>
              <a:latin typeface="Simplon BP Regular" pitchFamily="2" charset="0"/>
            </a:endParaRPr>
          </a:p>
        </p:txBody>
      </p:sp>
      <p:cxnSp>
        <p:nvCxnSpPr>
          <p:cNvPr id="90" name="Straight Connector 449"/>
          <p:cNvCxnSpPr/>
          <p:nvPr/>
        </p:nvCxnSpPr>
        <p:spPr>
          <a:xfrm flipV="1">
            <a:off x="6823815" y="4268985"/>
            <a:ext cx="0" cy="712304"/>
          </a:xfrm>
          <a:prstGeom prst="line">
            <a:avLst/>
          </a:prstGeom>
          <a:noFill/>
          <a:ln w="12700" cap="flat" cmpd="sng" algn="ctr">
            <a:solidFill>
              <a:srgbClr val="9BBB59"/>
            </a:solidFill>
            <a:prstDash val="sysDash"/>
            <a:miter lim="800000"/>
            <a:headEnd type="oval"/>
          </a:ln>
          <a:effectLst/>
        </p:spPr>
      </p:cxnSp>
      <p:sp>
        <p:nvSpPr>
          <p:cNvPr id="70" name="TextBox 428"/>
          <p:cNvSpPr txBox="1"/>
          <p:nvPr/>
        </p:nvSpPr>
        <p:spPr>
          <a:xfrm>
            <a:off x="3384644" y="5077483"/>
            <a:ext cx="2783651" cy="461665"/>
          </a:xfrm>
          <a:prstGeom prst="rect">
            <a:avLst/>
          </a:prstGeom>
          <a:noFill/>
          <a:ln>
            <a:solidFill>
              <a:srgbClr val="00A596"/>
            </a:soli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7030A0"/>
                </a:solidFill>
                <a:latin typeface="Calibri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 smtClean="0">
                <a:solidFill>
                  <a:srgbClr val="00A596"/>
                </a:solidFill>
                <a:latin typeface="Simplon BP Regular" pitchFamily="2" charset="0"/>
              </a:rPr>
              <a:t>Detalhamento do desenho da solução de infra e sistemas.</a:t>
            </a:r>
            <a:endParaRPr lang="id-ID" sz="1200" dirty="0">
              <a:solidFill>
                <a:srgbClr val="00A596"/>
              </a:solidFill>
              <a:latin typeface="Simplon BP Regular" pitchFamily="2" charset="0"/>
            </a:endParaRPr>
          </a:p>
        </p:txBody>
      </p:sp>
      <p:cxnSp>
        <p:nvCxnSpPr>
          <p:cNvPr id="78" name="Straight Connector 424"/>
          <p:cNvCxnSpPr/>
          <p:nvPr/>
        </p:nvCxnSpPr>
        <p:spPr>
          <a:xfrm flipV="1">
            <a:off x="4447896" y="4268637"/>
            <a:ext cx="0" cy="728572"/>
          </a:xfrm>
          <a:prstGeom prst="line">
            <a:avLst/>
          </a:prstGeom>
          <a:noFill/>
          <a:ln w="12700" cap="flat" cmpd="sng" algn="ctr">
            <a:solidFill>
              <a:srgbClr val="16A085"/>
            </a:solidFill>
            <a:prstDash val="sysDash"/>
            <a:miter lim="800000"/>
            <a:headEnd type="oval"/>
          </a:ln>
          <a:effectLst/>
        </p:spPr>
      </p:cxnSp>
      <p:sp>
        <p:nvSpPr>
          <p:cNvPr id="79" name="TextBox 431"/>
          <p:cNvSpPr txBox="1"/>
          <p:nvPr/>
        </p:nvSpPr>
        <p:spPr>
          <a:xfrm>
            <a:off x="6277480" y="5060441"/>
            <a:ext cx="3146552" cy="646331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FF0000"/>
                </a:solidFill>
                <a:latin typeface="Calibri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>
                <a:solidFill>
                  <a:schemeClr val="accent6">
                    <a:lumMod val="75000"/>
                  </a:schemeClr>
                </a:solidFill>
                <a:latin typeface="Simplon BP Regular" pitchFamily="2" charset="0"/>
              </a:rPr>
              <a:t>Envolvimento das áreas necessárias para aprovação do desenho de solução </a:t>
            </a:r>
            <a:r>
              <a:rPr lang="pt-BR" sz="1200" dirty="0" smtClean="0">
                <a:solidFill>
                  <a:schemeClr val="accent6">
                    <a:lumMod val="75000"/>
                  </a:schemeClr>
                </a:solidFill>
                <a:latin typeface="Simplon BP Regular" pitchFamily="2" charset="0"/>
              </a:rPr>
              <a:t>e estratégia de testes.</a:t>
            </a:r>
            <a:endParaRPr lang="id-ID" sz="1200" dirty="0">
              <a:solidFill>
                <a:schemeClr val="accent6">
                  <a:lumMod val="75000"/>
                </a:schemeClr>
              </a:solidFill>
              <a:latin typeface="Simplon BP Regular" pitchFamily="2" charset="0"/>
            </a:endParaRPr>
          </a:p>
        </p:txBody>
      </p:sp>
      <p:sp>
        <p:nvSpPr>
          <p:cNvPr id="85" name="TextBox 468"/>
          <p:cNvSpPr txBox="1"/>
          <p:nvPr/>
        </p:nvSpPr>
        <p:spPr>
          <a:xfrm>
            <a:off x="8802358" y="2309059"/>
            <a:ext cx="268677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pt-BR" sz="1400" dirty="0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RECEBIMENTO DE PROPOSTAS, CONSOLIDAÇÃO E  APROVAÇÃO </a:t>
            </a:r>
            <a:endParaRPr lang="id-ID" sz="1400" dirty="0">
              <a:solidFill>
                <a:schemeClr val="accent2">
                  <a:lumMod val="75000"/>
                </a:schemeClr>
              </a:solidFill>
              <a:latin typeface="Simplon BP Regular" pitchFamily="2" charset="0"/>
            </a:endParaRPr>
          </a:p>
        </p:txBody>
      </p:sp>
      <p:sp>
        <p:nvSpPr>
          <p:cNvPr id="42" name="TextBox 377"/>
          <p:cNvSpPr txBox="1"/>
          <p:nvPr/>
        </p:nvSpPr>
        <p:spPr>
          <a:xfrm>
            <a:off x="296115" y="1785970"/>
            <a:ext cx="5478696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00A596"/>
                </a:solidFill>
                <a:latin typeface="Calibri"/>
              </a:defRPr>
            </a:lvl1pPr>
          </a:lstStyle>
          <a:p>
            <a:pPr algn="ctr"/>
            <a:r>
              <a:rPr lang="pt-BR" dirty="0" smtClean="0">
                <a:solidFill>
                  <a:srgbClr val="002060"/>
                </a:solidFill>
                <a:latin typeface="Simplon BP Regular" pitchFamily="2" charset="0"/>
              </a:rPr>
              <a:t>FASE:  Desenho da Solução</a:t>
            </a:r>
            <a:endParaRPr lang="id-ID" sz="1050" dirty="0">
              <a:solidFill>
                <a:srgbClr val="002060"/>
              </a:solidFill>
              <a:latin typeface="Simplon BP Regular" pitchFamily="2" charset="0"/>
            </a:endParaRPr>
          </a:p>
        </p:txBody>
      </p:sp>
      <p:sp>
        <p:nvSpPr>
          <p:cNvPr id="43" name="TextBox 431"/>
          <p:cNvSpPr txBox="1"/>
          <p:nvPr/>
        </p:nvSpPr>
        <p:spPr>
          <a:xfrm>
            <a:off x="5813447" y="2309059"/>
            <a:ext cx="282558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pt-BR" sz="1400" dirty="0" smtClean="0">
                <a:solidFill>
                  <a:srgbClr val="00A596"/>
                </a:solidFill>
                <a:latin typeface="Simplon BP Regular" pitchFamily="2" charset="0"/>
              </a:rPr>
              <a:t>CONSOLIDAÇÃO E APROVAÇÃO DESENHO </a:t>
            </a:r>
            <a:r>
              <a:rPr lang="pt-BR" sz="1400" dirty="0">
                <a:solidFill>
                  <a:srgbClr val="00A596"/>
                </a:solidFill>
                <a:latin typeface="Simplon BP Regular" pitchFamily="2" charset="0"/>
              </a:rPr>
              <a:t>SOLUÇÃO </a:t>
            </a:r>
            <a:r>
              <a:rPr lang="pt-BR" sz="1400" dirty="0" smtClean="0">
                <a:solidFill>
                  <a:srgbClr val="00A596"/>
                </a:solidFill>
                <a:latin typeface="Simplon BP Regular" pitchFamily="2" charset="0"/>
              </a:rPr>
              <a:t>E ESTRATÉGIA DE TESTES.</a:t>
            </a:r>
          </a:p>
        </p:txBody>
      </p:sp>
      <p:sp>
        <p:nvSpPr>
          <p:cNvPr id="51" name="TextBox 431"/>
          <p:cNvSpPr txBox="1"/>
          <p:nvPr/>
        </p:nvSpPr>
        <p:spPr>
          <a:xfrm>
            <a:off x="9519568" y="5058036"/>
            <a:ext cx="2545055" cy="830997"/>
          </a:xfrm>
          <a:prstGeom prst="rect">
            <a:avLst/>
          </a:prstGeom>
          <a:noFill/>
          <a:ln>
            <a:solidFill>
              <a:srgbClr val="FFA800"/>
            </a:soli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FF0000"/>
                </a:solidFill>
                <a:latin typeface="Calibri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Recebimento  das propostas dos fornecedor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 GO para inicio do projeto e recebimento de cronograma </a:t>
            </a:r>
          </a:p>
        </p:txBody>
      </p:sp>
      <p:sp>
        <p:nvSpPr>
          <p:cNvPr id="11" name="Estrela de 6 Pontas 10"/>
          <p:cNvSpPr/>
          <p:nvPr/>
        </p:nvSpPr>
        <p:spPr>
          <a:xfrm>
            <a:off x="11628581" y="3618037"/>
            <a:ext cx="218118" cy="377104"/>
          </a:xfrm>
          <a:prstGeom prst="star6">
            <a:avLst/>
          </a:prstGeom>
          <a:solidFill>
            <a:srgbClr val="FFFF00"/>
          </a:solidFill>
          <a:ln w="2540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CaixaDeTexto 11"/>
          <p:cNvSpPr txBox="1"/>
          <p:nvPr/>
        </p:nvSpPr>
        <p:spPr>
          <a:xfrm>
            <a:off x="5751899" y="711832"/>
            <a:ext cx="6471643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latin typeface="Simplon BP Regular" pitchFamily="2" charset="0"/>
              </a:rPr>
              <a:t>Este macro cronograma contém datas previstas que podem sofrer alteraçõ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latin typeface="Simplon BP Regular" pitchFamily="2" charset="0"/>
              </a:rPr>
              <a:t>Ao longo do andamento os </a:t>
            </a:r>
            <a:r>
              <a:rPr lang="pt-BR" sz="1400" dirty="0" err="1" smtClean="0">
                <a:latin typeface="Simplon BP Regular" pitchFamily="2" charset="0"/>
              </a:rPr>
              <a:t>reports</a:t>
            </a:r>
            <a:r>
              <a:rPr lang="pt-BR" sz="1400" dirty="0" smtClean="0">
                <a:latin typeface="Simplon BP Regular" pitchFamily="2" charset="0"/>
              </a:rPr>
              <a:t> serão feitos ajustando o que for necessár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latin typeface="Simplon BP Regular" pitchFamily="2" charset="0"/>
              </a:rPr>
              <a:t>Somente teremos cronograma após etapa de Aprovação Financeira por Onda.</a:t>
            </a:r>
            <a:endParaRPr lang="pt-BR" sz="1400" dirty="0">
              <a:latin typeface="Simplon BP Regular" pitchFamily="2" charset="0"/>
            </a:endParaRPr>
          </a:p>
        </p:txBody>
      </p:sp>
      <p:sp>
        <p:nvSpPr>
          <p:cNvPr id="54" name="Estrela de 6 Pontas 53"/>
          <p:cNvSpPr/>
          <p:nvPr/>
        </p:nvSpPr>
        <p:spPr>
          <a:xfrm>
            <a:off x="11802629" y="5545734"/>
            <a:ext cx="218118" cy="322076"/>
          </a:xfrm>
          <a:prstGeom prst="star6">
            <a:avLst/>
          </a:prstGeom>
          <a:solidFill>
            <a:srgbClr val="FFFF00"/>
          </a:solidFill>
          <a:ln w="2540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6" name="TextBox 377"/>
          <p:cNvSpPr txBox="1"/>
          <p:nvPr/>
        </p:nvSpPr>
        <p:spPr>
          <a:xfrm>
            <a:off x="5704263" y="1785970"/>
            <a:ext cx="299256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00A596"/>
                </a:solidFill>
                <a:latin typeface="Calibri"/>
              </a:defRPr>
            </a:lvl1pPr>
          </a:lstStyle>
          <a:p>
            <a:pPr algn="ctr"/>
            <a:r>
              <a:rPr lang="pt-BR" dirty="0" smtClean="0">
                <a:solidFill>
                  <a:srgbClr val="002060"/>
                </a:solidFill>
                <a:latin typeface="Simplon BP Regular" pitchFamily="2" charset="0"/>
              </a:rPr>
              <a:t>FASE:  Aprovação DSOL</a:t>
            </a:r>
            <a:endParaRPr lang="id-ID" sz="1050" dirty="0">
              <a:solidFill>
                <a:srgbClr val="002060"/>
              </a:solidFill>
              <a:latin typeface="Simplon BP Regular" pitchFamily="2" charset="0"/>
            </a:endParaRPr>
          </a:p>
        </p:txBody>
      </p:sp>
      <p:sp>
        <p:nvSpPr>
          <p:cNvPr id="52" name="TextBox 377"/>
          <p:cNvSpPr txBox="1"/>
          <p:nvPr/>
        </p:nvSpPr>
        <p:spPr>
          <a:xfrm>
            <a:off x="8734118" y="1785970"/>
            <a:ext cx="299256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00A596"/>
                </a:solidFill>
                <a:latin typeface="Calibri"/>
              </a:defRPr>
            </a:lvl1pPr>
          </a:lstStyle>
          <a:p>
            <a:pPr algn="ctr"/>
            <a:r>
              <a:rPr lang="pt-BR" dirty="0" smtClean="0">
                <a:solidFill>
                  <a:srgbClr val="002060"/>
                </a:solidFill>
                <a:latin typeface="Simplon BP Regular" pitchFamily="2" charset="0"/>
              </a:rPr>
              <a:t>FASE:  Aprovação Financeira</a:t>
            </a:r>
            <a:endParaRPr lang="id-ID" sz="1050" dirty="0">
              <a:solidFill>
                <a:srgbClr val="002060"/>
              </a:solidFill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89610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3" name="Straight Connector 461"/>
          <p:cNvCxnSpPr/>
          <p:nvPr/>
        </p:nvCxnSpPr>
        <p:spPr>
          <a:xfrm flipV="1">
            <a:off x="10150424" y="4208259"/>
            <a:ext cx="0" cy="783942"/>
          </a:xfrm>
          <a:prstGeom prst="line">
            <a:avLst/>
          </a:prstGeom>
          <a:noFill/>
          <a:ln w="12700" cap="flat" cmpd="sng" algn="ctr">
            <a:solidFill>
              <a:schemeClr val="accent4"/>
            </a:solidFill>
            <a:prstDash val="sysDash"/>
            <a:miter lim="800000"/>
            <a:headEnd type="oval"/>
          </a:ln>
          <a:effectLst/>
        </p:spPr>
      </p:cxnSp>
      <p:pic>
        <p:nvPicPr>
          <p:cNvPr id="25" name="Imagem 24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rgbClr val="00B2A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80241" y="-76976"/>
            <a:ext cx="788808" cy="78880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6" name="CaixaDeTexto 25"/>
          <p:cNvSpPr txBox="1"/>
          <p:nvPr/>
        </p:nvSpPr>
        <p:spPr>
          <a:xfrm>
            <a:off x="6278500" y="155640"/>
            <a:ext cx="43754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sz="2400" dirty="0" smtClean="0">
                <a:solidFill>
                  <a:srgbClr val="00B2A7"/>
                </a:solidFill>
                <a:latin typeface="Simplon Oi Headline" pitchFamily="2" charset="0"/>
              </a:rPr>
              <a:t>Draft – macro cronograma</a:t>
            </a:r>
            <a:endParaRPr lang="pt-BR" sz="2400" dirty="0">
              <a:solidFill>
                <a:srgbClr val="00B2A7"/>
              </a:solidFill>
              <a:latin typeface="Simplon Oi Headline" pitchFamily="2" charset="0"/>
            </a:endParaRPr>
          </a:p>
        </p:txBody>
      </p:sp>
      <p:sp>
        <p:nvSpPr>
          <p:cNvPr id="28" name="CaixaDeTexto 27"/>
          <p:cNvSpPr txBox="1"/>
          <p:nvPr/>
        </p:nvSpPr>
        <p:spPr>
          <a:xfrm>
            <a:off x="208831" y="127057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dirty="0" err="1" smtClean="0">
                <a:solidFill>
                  <a:schemeClr val="bg1"/>
                </a:solidFill>
                <a:latin typeface="Simplon Oi Headline" pitchFamily="2" charset="0"/>
              </a:rPr>
              <a:t>Billing</a:t>
            </a:r>
            <a:r>
              <a:rPr lang="pt-BR" sz="2000" dirty="0" smtClean="0">
                <a:solidFill>
                  <a:schemeClr val="bg1"/>
                </a:solidFill>
                <a:latin typeface="Simplon Oi Headline" pitchFamily="2" charset="0"/>
              </a:rPr>
              <a:t> e TV</a:t>
            </a:r>
            <a:endParaRPr lang="pt-BR" sz="2000" dirty="0">
              <a:solidFill>
                <a:schemeClr val="bg1"/>
              </a:solidFill>
              <a:latin typeface="Simplon Oi Headline" pitchFamily="2" charset="0"/>
            </a:endParaRPr>
          </a:p>
        </p:txBody>
      </p:sp>
      <p:sp>
        <p:nvSpPr>
          <p:cNvPr id="27" name="Paralelogramo 26"/>
          <p:cNvSpPr/>
          <p:nvPr/>
        </p:nvSpPr>
        <p:spPr>
          <a:xfrm>
            <a:off x="81651" y="58817"/>
            <a:ext cx="5855593" cy="818918"/>
          </a:xfrm>
          <a:prstGeom prst="parallelogram">
            <a:avLst/>
          </a:prstGeom>
          <a:solidFill>
            <a:srgbClr val="00B2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2" name="CaixaDeTexto 31"/>
          <p:cNvSpPr txBox="1"/>
          <p:nvPr/>
        </p:nvSpPr>
        <p:spPr>
          <a:xfrm>
            <a:off x="203372" y="194192"/>
            <a:ext cx="57338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 smtClean="0">
                <a:solidFill>
                  <a:schemeClr val="bg1"/>
                </a:solidFill>
                <a:latin typeface="Simplon Oi Headline" pitchFamily="2" charset="0"/>
              </a:rPr>
              <a:t>Upgrade </a:t>
            </a:r>
            <a:r>
              <a:rPr lang="pt-BR" sz="2400" dirty="0" err="1" smtClean="0">
                <a:solidFill>
                  <a:schemeClr val="bg1"/>
                </a:solidFill>
                <a:latin typeface="Simplon Oi Headline" pitchFamily="2" charset="0"/>
              </a:rPr>
              <a:t>transact</a:t>
            </a:r>
            <a:r>
              <a:rPr lang="pt-BR" sz="2400" dirty="0" smtClean="0">
                <a:solidFill>
                  <a:schemeClr val="bg1"/>
                </a:solidFill>
                <a:latin typeface="Simplon Oi Headline" pitchFamily="2" charset="0"/>
              </a:rPr>
              <a:t> p/ (POWER CURVE)</a:t>
            </a:r>
          </a:p>
        </p:txBody>
      </p:sp>
      <p:sp>
        <p:nvSpPr>
          <p:cNvPr id="14" name="TextBox 377"/>
          <p:cNvSpPr txBox="1"/>
          <p:nvPr/>
        </p:nvSpPr>
        <p:spPr>
          <a:xfrm>
            <a:off x="418947" y="2337819"/>
            <a:ext cx="2951969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00A596"/>
                </a:solidFill>
                <a:latin typeface="Calibri"/>
              </a:defRPr>
            </a:lvl1pPr>
          </a:lstStyle>
          <a:p>
            <a:r>
              <a:rPr lang="pt-BR" dirty="0" smtClean="0">
                <a:solidFill>
                  <a:schemeClr val="accent1">
                    <a:lumMod val="50000"/>
                  </a:schemeClr>
                </a:solidFill>
              </a:rPr>
              <a:t>LEVANTAMENTO/ESCRITA REQUISITOS E REGRAS: TI  + NEGÓCIO</a:t>
            </a:r>
            <a:endParaRPr lang="id-ID" sz="1050" dirty="0">
              <a:solidFill>
                <a:schemeClr val="accent1">
                  <a:lumMod val="50000"/>
                </a:schemeClr>
              </a:solidFill>
            </a:endParaRPr>
          </a:p>
        </p:txBody>
      </p:sp>
      <p:grpSp>
        <p:nvGrpSpPr>
          <p:cNvPr id="19" name="Group 378"/>
          <p:cNvGrpSpPr/>
          <p:nvPr/>
        </p:nvGrpSpPr>
        <p:grpSpPr>
          <a:xfrm>
            <a:off x="-1" y="3386023"/>
            <a:ext cx="2995799" cy="897466"/>
            <a:chOff x="0" y="3285068"/>
            <a:chExt cx="1490133" cy="897466"/>
          </a:xfrm>
          <a:solidFill>
            <a:srgbClr val="2980B9"/>
          </a:solidFill>
        </p:grpSpPr>
        <p:sp>
          <p:nvSpPr>
            <p:cNvPr id="20" name="Rectangle 379"/>
            <p:cNvSpPr/>
            <p:nvPr/>
          </p:nvSpPr>
          <p:spPr>
            <a:xfrm>
              <a:off x="0" y="4000500"/>
              <a:ext cx="1490133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Rectangle 404"/>
            <p:cNvSpPr/>
            <p:nvPr/>
          </p:nvSpPr>
          <p:spPr>
            <a:xfrm>
              <a:off x="0" y="3285068"/>
              <a:ext cx="1490133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2" name="Group 405"/>
          <p:cNvGrpSpPr/>
          <p:nvPr/>
        </p:nvGrpSpPr>
        <p:grpSpPr>
          <a:xfrm>
            <a:off x="2995798" y="3386023"/>
            <a:ext cx="2927797" cy="897466"/>
            <a:chOff x="1490133" y="3285068"/>
            <a:chExt cx="2657032" cy="897466"/>
          </a:xfrm>
          <a:solidFill>
            <a:srgbClr val="16A085"/>
          </a:solidFill>
        </p:grpSpPr>
        <p:sp>
          <p:nvSpPr>
            <p:cNvPr id="23" name="Rectangle 406"/>
            <p:cNvSpPr/>
            <p:nvPr/>
          </p:nvSpPr>
          <p:spPr>
            <a:xfrm>
              <a:off x="1490133" y="4000500"/>
              <a:ext cx="265703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Rectangle 407"/>
            <p:cNvSpPr/>
            <p:nvPr/>
          </p:nvSpPr>
          <p:spPr>
            <a:xfrm>
              <a:off x="1490133" y="3285068"/>
              <a:ext cx="265703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9" name="Group 408"/>
          <p:cNvGrpSpPr/>
          <p:nvPr/>
        </p:nvGrpSpPr>
        <p:grpSpPr>
          <a:xfrm>
            <a:off x="5745714" y="3386023"/>
            <a:ext cx="2915597" cy="897466"/>
            <a:chOff x="4139707" y="3285068"/>
            <a:chExt cx="2743692" cy="897466"/>
          </a:xfrm>
          <a:solidFill>
            <a:srgbClr val="9BBB59"/>
          </a:solidFill>
        </p:grpSpPr>
        <p:sp>
          <p:nvSpPr>
            <p:cNvPr id="30" name="Rectangle 409"/>
            <p:cNvSpPr/>
            <p:nvPr/>
          </p:nvSpPr>
          <p:spPr>
            <a:xfrm>
              <a:off x="4139707" y="4000500"/>
              <a:ext cx="274369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Rectangle 410"/>
            <p:cNvSpPr/>
            <p:nvPr/>
          </p:nvSpPr>
          <p:spPr>
            <a:xfrm>
              <a:off x="4139707" y="3285068"/>
              <a:ext cx="274369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3" name="Group 411"/>
          <p:cNvGrpSpPr/>
          <p:nvPr/>
        </p:nvGrpSpPr>
        <p:grpSpPr>
          <a:xfrm>
            <a:off x="8661311" y="3386023"/>
            <a:ext cx="2652680" cy="897466"/>
            <a:chOff x="6883399" y="3285068"/>
            <a:chExt cx="3465378" cy="897466"/>
          </a:xfrm>
          <a:solidFill>
            <a:srgbClr val="F39C12"/>
          </a:solidFill>
        </p:grpSpPr>
        <p:sp>
          <p:nvSpPr>
            <p:cNvPr id="34" name="Rectangle 412"/>
            <p:cNvSpPr/>
            <p:nvPr/>
          </p:nvSpPr>
          <p:spPr>
            <a:xfrm>
              <a:off x="6883399" y="4000500"/>
              <a:ext cx="3465378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Rectangle 413"/>
            <p:cNvSpPr/>
            <p:nvPr/>
          </p:nvSpPr>
          <p:spPr>
            <a:xfrm>
              <a:off x="6883399" y="3285068"/>
              <a:ext cx="3465378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44" name="Straight Connector 424"/>
          <p:cNvCxnSpPr/>
          <p:nvPr/>
        </p:nvCxnSpPr>
        <p:spPr>
          <a:xfrm>
            <a:off x="294418" y="2360509"/>
            <a:ext cx="1" cy="1025514"/>
          </a:xfrm>
          <a:prstGeom prst="line">
            <a:avLst/>
          </a:prstGeom>
          <a:noFill/>
          <a:ln w="12700" cap="flat" cmpd="sng" algn="ctr">
            <a:solidFill>
              <a:srgbClr val="2980B9"/>
            </a:solidFill>
            <a:prstDash val="sysDash"/>
            <a:miter lim="800000"/>
            <a:headEnd type="oval"/>
          </a:ln>
          <a:effectLst/>
        </p:spPr>
      </p:cxnSp>
      <p:sp>
        <p:nvSpPr>
          <p:cNvPr id="47" name="TextBox 428"/>
          <p:cNvSpPr txBox="1"/>
          <p:nvPr/>
        </p:nvSpPr>
        <p:spPr>
          <a:xfrm>
            <a:off x="3595880" y="1765189"/>
            <a:ext cx="50654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>
                <a:solidFill>
                  <a:srgbClr val="7030A0"/>
                </a:solidFill>
                <a:latin typeface="Calibri"/>
              </a:rPr>
              <a:t>FASE: DESENHO DE SOLUÇÃO </a:t>
            </a:r>
            <a:endParaRPr lang="id-ID" sz="1400" b="1" i="1" dirty="0">
              <a:solidFill>
                <a:srgbClr val="7030A0"/>
              </a:solidFill>
              <a:latin typeface="Calibri"/>
            </a:endParaRPr>
          </a:p>
        </p:txBody>
      </p:sp>
      <p:cxnSp>
        <p:nvCxnSpPr>
          <p:cNvPr id="48" name="Straight Connector 429"/>
          <p:cNvCxnSpPr/>
          <p:nvPr/>
        </p:nvCxnSpPr>
        <p:spPr>
          <a:xfrm>
            <a:off x="3666477" y="2358439"/>
            <a:ext cx="0" cy="1015627"/>
          </a:xfrm>
          <a:prstGeom prst="line">
            <a:avLst/>
          </a:prstGeom>
          <a:noFill/>
          <a:ln w="12700" cap="flat" cmpd="sng" algn="ctr">
            <a:solidFill>
              <a:srgbClr val="16A085"/>
            </a:solidFill>
            <a:prstDash val="sysDash"/>
            <a:miter lim="800000"/>
            <a:headEnd type="oval"/>
          </a:ln>
          <a:effectLst/>
        </p:spPr>
      </p:cxnSp>
      <p:cxnSp>
        <p:nvCxnSpPr>
          <p:cNvPr id="49" name="Straight Connector 430"/>
          <p:cNvCxnSpPr/>
          <p:nvPr/>
        </p:nvCxnSpPr>
        <p:spPr>
          <a:xfrm flipH="1">
            <a:off x="5923595" y="2322707"/>
            <a:ext cx="1" cy="1076964"/>
          </a:xfrm>
          <a:prstGeom prst="line">
            <a:avLst/>
          </a:prstGeom>
          <a:noFill/>
          <a:ln w="12700" cap="flat" cmpd="sng" algn="ctr">
            <a:solidFill>
              <a:srgbClr val="16A085"/>
            </a:solidFill>
            <a:prstDash val="sysDash"/>
            <a:miter lim="800000"/>
            <a:headEnd type="oval"/>
          </a:ln>
          <a:effectLst/>
        </p:spPr>
      </p:cxnSp>
      <p:sp>
        <p:nvSpPr>
          <p:cNvPr id="50" name="TextBox 431"/>
          <p:cNvSpPr txBox="1"/>
          <p:nvPr/>
        </p:nvSpPr>
        <p:spPr>
          <a:xfrm>
            <a:off x="3725522" y="2332460"/>
            <a:ext cx="18587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>
                <a:solidFill>
                  <a:srgbClr val="00A596"/>
                </a:solidFill>
                <a:latin typeface="Calibri"/>
              </a:rPr>
              <a:t>ELABORAÇÃO DESENHO SOLUÇÃO </a:t>
            </a:r>
            <a:endParaRPr lang="id-ID" sz="1400" dirty="0">
              <a:solidFill>
                <a:srgbClr val="00A596"/>
              </a:solidFill>
              <a:latin typeface="Calibri"/>
            </a:endParaRPr>
          </a:p>
        </p:txBody>
      </p:sp>
      <p:cxnSp>
        <p:nvCxnSpPr>
          <p:cNvPr id="59" name="Straight Connector 456"/>
          <p:cNvCxnSpPr/>
          <p:nvPr/>
        </p:nvCxnSpPr>
        <p:spPr>
          <a:xfrm>
            <a:off x="8968440" y="2309059"/>
            <a:ext cx="0" cy="1120539"/>
          </a:xfrm>
          <a:prstGeom prst="line">
            <a:avLst/>
          </a:prstGeom>
          <a:noFill/>
          <a:ln w="12700" cap="flat" cmpd="sng" algn="ctr">
            <a:solidFill>
              <a:srgbClr val="F39C12"/>
            </a:solidFill>
            <a:prstDash val="sysDash"/>
            <a:miter lim="800000"/>
            <a:headEnd type="oval"/>
          </a:ln>
          <a:effectLst/>
        </p:spPr>
      </p:cxnSp>
      <p:cxnSp>
        <p:nvCxnSpPr>
          <p:cNvPr id="102" name="Straight Connector 424"/>
          <p:cNvCxnSpPr/>
          <p:nvPr/>
        </p:nvCxnSpPr>
        <p:spPr>
          <a:xfrm flipV="1">
            <a:off x="1088266" y="4252717"/>
            <a:ext cx="0" cy="614705"/>
          </a:xfrm>
          <a:prstGeom prst="line">
            <a:avLst/>
          </a:prstGeom>
          <a:noFill/>
          <a:ln w="12700" cap="flat" cmpd="sng" algn="ctr">
            <a:solidFill>
              <a:srgbClr val="2980B9"/>
            </a:solidFill>
            <a:prstDash val="sysDash"/>
            <a:miter lim="800000"/>
            <a:headEnd type="oval"/>
          </a:ln>
          <a:effectLst/>
        </p:spPr>
      </p:cxnSp>
      <p:sp>
        <p:nvSpPr>
          <p:cNvPr id="69" name="TextBox 455"/>
          <p:cNvSpPr txBox="1"/>
          <p:nvPr/>
        </p:nvSpPr>
        <p:spPr>
          <a:xfrm>
            <a:off x="100805" y="4989681"/>
            <a:ext cx="2738584" cy="181588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solidFill>
                  <a:srgbClr val="002060"/>
                </a:solidFill>
              </a:rPr>
              <a:t>Agenda de reuniões junto ao fornecedor (EXPERIAN), área de negócio e TI para definição dos requisitos  e regras que farão parte do SD (solicitação de Demanda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solidFill>
                  <a:srgbClr val="002060"/>
                </a:solidFill>
                <a:latin typeface="Calibri"/>
              </a:rPr>
              <a:t>Definição  equipe proje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solidFill>
                  <a:srgbClr val="002060"/>
                </a:solidFill>
                <a:latin typeface="Calibri"/>
              </a:rPr>
              <a:t>Abertura PRJ no Clarity</a:t>
            </a:r>
            <a:endParaRPr lang="pt-BR" sz="1400" dirty="0">
              <a:solidFill>
                <a:srgbClr val="002060"/>
              </a:solidFill>
              <a:latin typeface="Calibri"/>
            </a:endParaRPr>
          </a:p>
        </p:txBody>
      </p:sp>
      <p:cxnSp>
        <p:nvCxnSpPr>
          <p:cNvPr id="90" name="Straight Connector 449"/>
          <p:cNvCxnSpPr/>
          <p:nvPr/>
        </p:nvCxnSpPr>
        <p:spPr>
          <a:xfrm flipV="1">
            <a:off x="6823815" y="4268985"/>
            <a:ext cx="0" cy="712304"/>
          </a:xfrm>
          <a:prstGeom prst="line">
            <a:avLst/>
          </a:prstGeom>
          <a:noFill/>
          <a:ln w="12700" cap="flat" cmpd="sng" algn="ctr">
            <a:solidFill>
              <a:srgbClr val="9BBB59"/>
            </a:solidFill>
            <a:prstDash val="sysDash"/>
            <a:miter lim="800000"/>
            <a:headEnd type="oval"/>
          </a:ln>
          <a:effectLst/>
        </p:spPr>
      </p:cxnSp>
      <p:sp>
        <p:nvSpPr>
          <p:cNvPr id="70" name="TextBox 428"/>
          <p:cNvSpPr txBox="1"/>
          <p:nvPr/>
        </p:nvSpPr>
        <p:spPr>
          <a:xfrm>
            <a:off x="3231840" y="5091131"/>
            <a:ext cx="2336449" cy="1169551"/>
          </a:xfrm>
          <a:prstGeom prst="rect">
            <a:avLst/>
          </a:prstGeom>
          <a:noFill/>
          <a:ln>
            <a:solidFill>
              <a:srgbClr val="00A596"/>
            </a:soli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7030A0"/>
                </a:solidFill>
                <a:latin typeface="Calibri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rgbClr val="00A596"/>
                </a:solidFill>
              </a:rPr>
              <a:t>GO para fornecedor iniciar Desenho de solução (GO DSOL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rgbClr val="00A596"/>
                </a:solidFill>
              </a:rPr>
              <a:t>Inicio do estudo da estratégia testes</a:t>
            </a:r>
            <a:endParaRPr lang="id-ID" dirty="0">
              <a:solidFill>
                <a:srgbClr val="00A596"/>
              </a:solidFill>
            </a:endParaRPr>
          </a:p>
        </p:txBody>
      </p:sp>
      <p:cxnSp>
        <p:nvCxnSpPr>
          <p:cNvPr id="78" name="Straight Connector 424"/>
          <p:cNvCxnSpPr/>
          <p:nvPr/>
        </p:nvCxnSpPr>
        <p:spPr>
          <a:xfrm flipV="1">
            <a:off x="4447896" y="4268637"/>
            <a:ext cx="0" cy="728572"/>
          </a:xfrm>
          <a:prstGeom prst="line">
            <a:avLst/>
          </a:prstGeom>
          <a:noFill/>
          <a:ln w="12700" cap="flat" cmpd="sng" algn="ctr">
            <a:solidFill>
              <a:srgbClr val="16A085"/>
            </a:solidFill>
            <a:prstDash val="sysDash"/>
            <a:miter lim="800000"/>
            <a:headEnd type="oval"/>
          </a:ln>
          <a:effectLst/>
        </p:spPr>
      </p:cxnSp>
      <p:sp>
        <p:nvSpPr>
          <p:cNvPr id="79" name="TextBox 431"/>
          <p:cNvSpPr txBox="1"/>
          <p:nvPr/>
        </p:nvSpPr>
        <p:spPr>
          <a:xfrm>
            <a:off x="6222888" y="5074089"/>
            <a:ext cx="2907469" cy="1169551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FF0000"/>
                </a:solidFill>
                <a:latin typeface="Calibri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chemeClr val="accent6">
                    <a:lumMod val="75000"/>
                  </a:schemeClr>
                </a:solidFill>
              </a:rPr>
              <a:t>Envolvimento das áreas necessárias para aprovação do desenho de solução e definição de faseamento, requisitos essenciais </a:t>
            </a:r>
            <a:endParaRPr lang="id-ID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85" name="TextBox 468"/>
          <p:cNvSpPr txBox="1"/>
          <p:nvPr/>
        </p:nvSpPr>
        <p:spPr>
          <a:xfrm>
            <a:off x="9184502" y="2350003"/>
            <a:ext cx="212948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>
                <a:solidFill>
                  <a:schemeClr val="accent2">
                    <a:lumMod val="75000"/>
                  </a:schemeClr>
                </a:solidFill>
                <a:latin typeface="Calibri"/>
              </a:rPr>
              <a:t>RECEBIMENTO DE PROPOSTAS/APROVAÇÃO </a:t>
            </a:r>
            <a:endParaRPr lang="id-ID" sz="1400" dirty="0">
              <a:solidFill>
                <a:schemeClr val="accent2">
                  <a:lumMod val="75000"/>
                </a:schemeClr>
              </a:solidFill>
              <a:latin typeface="Calibri"/>
            </a:endParaRPr>
          </a:p>
        </p:txBody>
      </p:sp>
      <p:sp>
        <p:nvSpPr>
          <p:cNvPr id="42" name="TextBox 377"/>
          <p:cNvSpPr txBox="1"/>
          <p:nvPr/>
        </p:nvSpPr>
        <p:spPr>
          <a:xfrm>
            <a:off x="418947" y="1854210"/>
            <a:ext cx="282047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00A596"/>
                </a:solidFill>
                <a:latin typeface="Calibri"/>
              </a:defRPr>
            </a:lvl1pPr>
          </a:lstStyle>
          <a:p>
            <a:pPr algn="ctr"/>
            <a:r>
              <a:rPr lang="pt-BR" b="1" dirty="0" smtClean="0">
                <a:solidFill>
                  <a:srgbClr val="002060"/>
                </a:solidFill>
              </a:rPr>
              <a:t>FASE:  ESCOPO </a:t>
            </a:r>
            <a:endParaRPr lang="id-ID" sz="1050" b="1" dirty="0">
              <a:solidFill>
                <a:srgbClr val="002060"/>
              </a:solidFill>
            </a:endParaRPr>
          </a:p>
        </p:txBody>
      </p:sp>
      <p:sp>
        <p:nvSpPr>
          <p:cNvPr id="43" name="TextBox 431"/>
          <p:cNvSpPr txBox="1"/>
          <p:nvPr/>
        </p:nvSpPr>
        <p:spPr>
          <a:xfrm>
            <a:off x="6113704" y="2322707"/>
            <a:ext cx="18587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>
                <a:solidFill>
                  <a:schemeClr val="accent6">
                    <a:lumMod val="75000"/>
                  </a:schemeClr>
                </a:solidFill>
                <a:latin typeface="Calibri"/>
              </a:rPr>
              <a:t>APROVAÇÃO </a:t>
            </a:r>
          </a:p>
          <a:p>
            <a:r>
              <a:rPr lang="pt-BR" sz="1400" dirty="0" smtClean="0">
                <a:solidFill>
                  <a:schemeClr val="accent6">
                    <a:lumMod val="75000"/>
                  </a:schemeClr>
                </a:solidFill>
                <a:latin typeface="Calibri"/>
              </a:rPr>
              <a:t>DESENHO SOLUÇÃO </a:t>
            </a:r>
            <a:endParaRPr lang="id-ID" sz="1400" dirty="0">
              <a:solidFill>
                <a:schemeClr val="accent6">
                  <a:lumMod val="75000"/>
                </a:schemeClr>
              </a:solidFill>
              <a:latin typeface="Calibri"/>
            </a:endParaRPr>
          </a:p>
        </p:txBody>
      </p:sp>
      <p:sp>
        <p:nvSpPr>
          <p:cNvPr id="45" name="TextBox 468"/>
          <p:cNvSpPr txBox="1"/>
          <p:nvPr/>
        </p:nvSpPr>
        <p:spPr>
          <a:xfrm>
            <a:off x="9075765" y="1784103"/>
            <a:ext cx="27709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dirty="0" smtClean="0">
                <a:solidFill>
                  <a:schemeClr val="accent2">
                    <a:lumMod val="75000"/>
                  </a:schemeClr>
                </a:solidFill>
                <a:latin typeface="Calibri"/>
              </a:rPr>
              <a:t>FASE: APROVAÇÃO FINANCEIRA</a:t>
            </a:r>
            <a:endParaRPr lang="id-ID" sz="1400" b="1" dirty="0">
              <a:solidFill>
                <a:schemeClr val="accent2">
                  <a:lumMod val="75000"/>
                </a:schemeClr>
              </a:solidFill>
              <a:latin typeface="Calibri"/>
            </a:endParaRPr>
          </a:p>
        </p:txBody>
      </p:sp>
      <p:sp>
        <p:nvSpPr>
          <p:cNvPr id="51" name="TextBox 431"/>
          <p:cNvSpPr txBox="1"/>
          <p:nvPr/>
        </p:nvSpPr>
        <p:spPr>
          <a:xfrm>
            <a:off x="9424032" y="5058036"/>
            <a:ext cx="2231721" cy="1600438"/>
          </a:xfrm>
          <a:prstGeom prst="rect">
            <a:avLst/>
          </a:prstGeom>
          <a:noFill/>
          <a:ln>
            <a:solidFill>
              <a:srgbClr val="FFA800"/>
            </a:soli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FF0000"/>
                </a:solidFill>
                <a:latin typeface="Calibri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chemeClr val="accent2">
                    <a:lumMod val="75000"/>
                  </a:schemeClr>
                </a:solidFill>
              </a:rPr>
              <a:t>Recebimento  das propostas dos fornecedor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chemeClr val="accent2">
                    <a:lumMod val="75000"/>
                  </a:schemeClr>
                </a:solidFill>
              </a:rPr>
              <a:t> GO para inicio do projeto e recebimento de cronograma </a:t>
            </a:r>
          </a:p>
          <a:p>
            <a:endParaRPr lang="id-ID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1" name="Estrela de 6 Pontas 10"/>
          <p:cNvSpPr/>
          <p:nvPr/>
        </p:nvSpPr>
        <p:spPr>
          <a:xfrm>
            <a:off x="11628581" y="3618037"/>
            <a:ext cx="218118" cy="377104"/>
          </a:xfrm>
          <a:prstGeom prst="star6">
            <a:avLst/>
          </a:prstGeom>
          <a:solidFill>
            <a:srgbClr val="FFFF00"/>
          </a:solidFill>
          <a:ln w="2540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CaixaDeTexto 11"/>
          <p:cNvSpPr txBox="1"/>
          <p:nvPr/>
        </p:nvSpPr>
        <p:spPr>
          <a:xfrm>
            <a:off x="5820139" y="711832"/>
            <a:ext cx="6246069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/>
              <a:t>Este macro cronograma contem datas previstas que podem sofrer alteraçõ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/>
              <a:t>Ao longo do andamento os </a:t>
            </a:r>
            <a:r>
              <a:rPr lang="pt-BR" sz="1400" dirty="0" err="1" smtClean="0"/>
              <a:t>reports</a:t>
            </a:r>
            <a:r>
              <a:rPr lang="pt-BR" sz="1400" dirty="0" smtClean="0"/>
              <a:t> serão feitos ajustando o que for necessár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/>
              <a:t>Somente teremos cronograma </a:t>
            </a:r>
            <a:r>
              <a:rPr lang="pt-BR" sz="1400" dirty="0"/>
              <a:t> </a:t>
            </a:r>
            <a:r>
              <a:rPr lang="pt-BR" sz="1400" dirty="0" smtClean="0"/>
              <a:t>após  etapa de Aprovação  Financeira</a:t>
            </a:r>
            <a:endParaRPr lang="pt-BR" sz="1400" dirty="0"/>
          </a:p>
        </p:txBody>
      </p:sp>
      <p:sp>
        <p:nvSpPr>
          <p:cNvPr id="54" name="Estrela de 6 Pontas 53"/>
          <p:cNvSpPr/>
          <p:nvPr/>
        </p:nvSpPr>
        <p:spPr>
          <a:xfrm>
            <a:off x="11055635" y="6137008"/>
            <a:ext cx="218118" cy="322076"/>
          </a:xfrm>
          <a:prstGeom prst="star6">
            <a:avLst/>
          </a:prstGeom>
          <a:solidFill>
            <a:srgbClr val="FFFF00"/>
          </a:solidFill>
          <a:ln w="2540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6" name="TextBox 417"/>
          <p:cNvSpPr txBox="1"/>
          <p:nvPr/>
        </p:nvSpPr>
        <p:spPr>
          <a:xfrm>
            <a:off x="903185" y="3652701"/>
            <a:ext cx="102463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2000" b="1" dirty="0" smtClean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AGOSTO</a:t>
            </a:r>
            <a:endParaRPr lang="id-ID" sz="2000" b="1" dirty="0">
              <a:solidFill>
                <a:prstClr val="white">
                  <a:lumMod val="50000"/>
                </a:prstClr>
              </a:solidFill>
              <a:latin typeface="Simplon BP Regular" pitchFamily="2" charset="0"/>
            </a:endParaRPr>
          </a:p>
        </p:txBody>
      </p:sp>
      <p:sp>
        <p:nvSpPr>
          <p:cNvPr id="52" name="TextBox 418"/>
          <p:cNvSpPr txBox="1"/>
          <p:nvPr/>
        </p:nvSpPr>
        <p:spPr>
          <a:xfrm>
            <a:off x="3748660" y="3652701"/>
            <a:ext cx="134684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2000" b="1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SETEMBRO</a:t>
            </a:r>
            <a:endParaRPr lang="id-ID" sz="2000" b="1" dirty="0">
              <a:solidFill>
                <a:prstClr val="white">
                  <a:lumMod val="50000"/>
                </a:prstClr>
              </a:solidFill>
              <a:latin typeface="Simplon BP Regular" pitchFamily="2" charset="0"/>
            </a:endParaRPr>
          </a:p>
        </p:txBody>
      </p:sp>
      <p:sp>
        <p:nvSpPr>
          <p:cNvPr id="53" name="TextBox 420"/>
          <p:cNvSpPr txBox="1"/>
          <p:nvPr/>
        </p:nvSpPr>
        <p:spPr>
          <a:xfrm>
            <a:off x="9327027" y="3671577"/>
            <a:ext cx="139974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2000" b="1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NOVEMBRO</a:t>
            </a:r>
            <a:endParaRPr lang="id-ID" sz="2000" b="1" dirty="0">
              <a:solidFill>
                <a:prstClr val="white">
                  <a:lumMod val="50000"/>
                </a:prstClr>
              </a:solidFill>
              <a:latin typeface="Simplon BP Regular" pitchFamily="2" charset="0"/>
            </a:endParaRPr>
          </a:p>
        </p:txBody>
      </p:sp>
      <p:sp>
        <p:nvSpPr>
          <p:cNvPr id="55" name="TextBox 420"/>
          <p:cNvSpPr txBox="1"/>
          <p:nvPr/>
        </p:nvSpPr>
        <p:spPr>
          <a:xfrm>
            <a:off x="6273447" y="3650376"/>
            <a:ext cx="17638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OUTUBRO</a:t>
            </a:r>
            <a:endParaRPr lang="id-ID" sz="2000" b="1" dirty="0">
              <a:solidFill>
                <a:prstClr val="white">
                  <a:lumMod val="50000"/>
                </a:prstClr>
              </a:solidFill>
              <a:latin typeface="Simplon BP Regular" pitchFamily="2" charset="0"/>
            </a:endParaRPr>
          </a:p>
        </p:txBody>
      </p:sp>
      <p:cxnSp>
        <p:nvCxnSpPr>
          <p:cNvPr id="56" name="Straight Connector 424"/>
          <p:cNvCxnSpPr/>
          <p:nvPr/>
        </p:nvCxnSpPr>
        <p:spPr>
          <a:xfrm flipV="1">
            <a:off x="1088266" y="4225422"/>
            <a:ext cx="0" cy="204717"/>
          </a:xfrm>
          <a:prstGeom prst="line">
            <a:avLst/>
          </a:prstGeom>
          <a:noFill/>
          <a:ln w="12700" cap="flat" cmpd="sng" algn="ctr">
            <a:solidFill>
              <a:srgbClr val="2980B9"/>
            </a:solidFill>
            <a:prstDash val="sysDash"/>
            <a:miter lim="800000"/>
            <a:headEnd type="oval"/>
          </a:ln>
          <a:effectLst/>
        </p:spPr>
      </p:cxnSp>
    </p:spTree>
    <p:extLst>
      <p:ext uri="{BB962C8B-B14F-4D97-AF65-F5344CB8AC3E}">
        <p14:creationId xmlns:p14="http://schemas.microsoft.com/office/powerpoint/2010/main" val="8305691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3" name="Straight Connector 461"/>
          <p:cNvCxnSpPr/>
          <p:nvPr/>
        </p:nvCxnSpPr>
        <p:spPr>
          <a:xfrm flipV="1">
            <a:off x="10783469" y="4208260"/>
            <a:ext cx="0" cy="781421"/>
          </a:xfrm>
          <a:prstGeom prst="line">
            <a:avLst/>
          </a:prstGeom>
          <a:noFill/>
          <a:ln w="12700" cap="flat" cmpd="sng" algn="ctr">
            <a:solidFill>
              <a:schemeClr val="accent4"/>
            </a:solidFill>
            <a:prstDash val="sysDash"/>
            <a:miter lim="800000"/>
            <a:headEnd type="oval"/>
          </a:ln>
          <a:effectLst/>
        </p:spPr>
      </p:cxnSp>
      <p:pic>
        <p:nvPicPr>
          <p:cNvPr id="25" name="Imagem 24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rgbClr val="00B2A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80241" y="-76976"/>
            <a:ext cx="788808" cy="78880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6" name="CaixaDeTexto 25"/>
          <p:cNvSpPr txBox="1"/>
          <p:nvPr/>
        </p:nvSpPr>
        <p:spPr>
          <a:xfrm>
            <a:off x="6278500" y="155640"/>
            <a:ext cx="43754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sz="2400" dirty="0" smtClean="0">
                <a:solidFill>
                  <a:srgbClr val="00B2A7"/>
                </a:solidFill>
                <a:latin typeface="Simplon Oi Headline" pitchFamily="2" charset="0"/>
              </a:rPr>
              <a:t>Draft – macro cronograma</a:t>
            </a:r>
            <a:endParaRPr lang="pt-BR" sz="2400" dirty="0">
              <a:solidFill>
                <a:srgbClr val="00B2A7"/>
              </a:solidFill>
              <a:latin typeface="Simplon Oi Headline" pitchFamily="2" charset="0"/>
            </a:endParaRPr>
          </a:p>
        </p:txBody>
      </p:sp>
      <p:sp>
        <p:nvSpPr>
          <p:cNvPr id="28" name="CaixaDeTexto 27"/>
          <p:cNvSpPr txBox="1"/>
          <p:nvPr/>
        </p:nvSpPr>
        <p:spPr>
          <a:xfrm>
            <a:off x="208831" y="127057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dirty="0" err="1" smtClean="0">
                <a:solidFill>
                  <a:schemeClr val="bg1"/>
                </a:solidFill>
                <a:latin typeface="Simplon Oi Headline" pitchFamily="2" charset="0"/>
              </a:rPr>
              <a:t>Billing</a:t>
            </a:r>
            <a:r>
              <a:rPr lang="pt-BR" sz="2000" dirty="0" smtClean="0">
                <a:solidFill>
                  <a:schemeClr val="bg1"/>
                </a:solidFill>
                <a:latin typeface="Simplon Oi Headline" pitchFamily="2" charset="0"/>
              </a:rPr>
              <a:t> e TV</a:t>
            </a:r>
            <a:endParaRPr lang="pt-BR" sz="2000" dirty="0">
              <a:solidFill>
                <a:schemeClr val="bg1"/>
              </a:solidFill>
              <a:latin typeface="Simplon Oi Headline" pitchFamily="2" charset="0"/>
            </a:endParaRPr>
          </a:p>
        </p:txBody>
      </p:sp>
      <p:sp>
        <p:nvSpPr>
          <p:cNvPr id="27" name="Paralelogramo 26"/>
          <p:cNvSpPr/>
          <p:nvPr/>
        </p:nvSpPr>
        <p:spPr>
          <a:xfrm>
            <a:off x="81651" y="58817"/>
            <a:ext cx="5855593" cy="818918"/>
          </a:xfrm>
          <a:prstGeom prst="parallelogram">
            <a:avLst/>
          </a:prstGeom>
          <a:solidFill>
            <a:srgbClr val="00B2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2" name="CaixaDeTexto 31"/>
          <p:cNvSpPr txBox="1"/>
          <p:nvPr/>
        </p:nvSpPr>
        <p:spPr>
          <a:xfrm>
            <a:off x="203372" y="194192"/>
            <a:ext cx="57338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 smtClean="0">
                <a:solidFill>
                  <a:schemeClr val="bg1"/>
                </a:solidFill>
                <a:latin typeface="Simplon Oi Headline" pitchFamily="2" charset="0"/>
              </a:rPr>
              <a:t>nova SOLUÇÃO FISCAL</a:t>
            </a:r>
          </a:p>
        </p:txBody>
      </p:sp>
      <p:sp>
        <p:nvSpPr>
          <p:cNvPr id="14" name="TextBox 377"/>
          <p:cNvSpPr txBox="1"/>
          <p:nvPr/>
        </p:nvSpPr>
        <p:spPr>
          <a:xfrm>
            <a:off x="109455" y="2394091"/>
            <a:ext cx="1774987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00A596"/>
                </a:solidFill>
                <a:latin typeface="Calibri"/>
              </a:defRPr>
            </a:lvl1pPr>
          </a:lstStyle>
          <a:p>
            <a:r>
              <a:rPr lang="pt-BR" dirty="0" smtClean="0">
                <a:solidFill>
                  <a:schemeClr val="accent1">
                    <a:lumMod val="50000"/>
                  </a:schemeClr>
                </a:solidFill>
              </a:rPr>
              <a:t>DEF.ESTRATÉGIA</a:t>
            </a:r>
          </a:p>
          <a:p>
            <a:r>
              <a:rPr lang="pt-BR" dirty="0" smtClean="0">
                <a:solidFill>
                  <a:schemeClr val="accent1">
                    <a:lumMod val="50000"/>
                  </a:schemeClr>
                </a:solidFill>
              </a:rPr>
              <a:t>PLANEJAMENTO</a:t>
            </a:r>
          </a:p>
          <a:p>
            <a:r>
              <a:rPr lang="pt-BR" dirty="0" smtClean="0">
                <a:solidFill>
                  <a:schemeClr val="accent1">
                    <a:lumMod val="50000"/>
                  </a:schemeClr>
                </a:solidFill>
              </a:rPr>
              <a:t>DSOL</a:t>
            </a:r>
          </a:p>
        </p:txBody>
      </p:sp>
      <p:grpSp>
        <p:nvGrpSpPr>
          <p:cNvPr id="19" name="Group 378"/>
          <p:cNvGrpSpPr/>
          <p:nvPr/>
        </p:nvGrpSpPr>
        <p:grpSpPr>
          <a:xfrm>
            <a:off x="19164" y="3386023"/>
            <a:ext cx="1860160" cy="897466"/>
            <a:chOff x="9533" y="3285068"/>
            <a:chExt cx="925258" cy="897466"/>
          </a:xfrm>
          <a:solidFill>
            <a:srgbClr val="2980B9"/>
          </a:solidFill>
        </p:grpSpPr>
        <p:sp>
          <p:nvSpPr>
            <p:cNvPr id="20" name="Rectangle 379"/>
            <p:cNvSpPr/>
            <p:nvPr/>
          </p:nvSpPr>
          <p:spPr>
            <a:xfrm>
              <a:off x="9536" y="4000500"/>
              <a:ext cx="925255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Rectangle 404"/>
            <p:cNvSpPr/>
            <p:nvPr/>
          </p:nvSpPr>
          <p:spPr>
            <a:xfrm>
              <a:off x="9533" y="3285068"/>
              <a:ext cx="925256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2" name="Group 405"/>
          <p:cNvGrpSpPr/>
          <p:nvPr/>
        </p:nvGrpSpPr>
        <p:grpSpPr>
          <a:xfrm>
            <a:off x="1884442" y="3386023"/>
            <a:ext cx="3164229" cy="897466"/>
            <a:chOff x="1490133" y="3285068"/>
            <a:chExt cx="2657032" cy="897466"/>
          </a:xfrm>
          <a:solidFill>
            <a:srgbClr val="16A085"/>
          </a:solidFill>
        </p:grpSpPr>
        <p:sp>
          <p:nvSpPr>
            <p:cNvPr id="23" name="Rectangle 406"/>
            <p:cNvSpPr/>
            <p:nvPr/>
          </p:nvSpPr>
          <p:spPr>
            <a:xfrm>
              <a:off x="1490133" y="4000500"/>
              <a:ext cx="265703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Rectangle 407"/>
            <p:cNvSpPr/>
            <p:nvPr/>
          </p:nvSpPr>
          <p:spPr>
            <a:xfrm>
              <a:off x="1490133" y="3285068"/>
              <a:ext cx="265703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9" name="Group 408"/>
          <p:cNvGrpSpPr/>
          <p:nvPr/>
        </p:nvGrpSpPr>
        <p:grpSpPr>
          <a:xfrm>
            <a:off x="5048671" y="3386023"/>
            <a:ext cx="5600568" cy="897466"/>
            <a:chOff x="4139707" y="3285068"/>
            <a:chExt cx="2743692" cy="897466"/>
          </a:xfrm>
          <a:solidFill>
            <a:srgbClr val="9BBB59"/>
          </a:solidFill>
        </p:grpSpPr>
        <p:sp>
          <p:nvSpPr>
            <p:cNvPr id="30" name="Rectangle 409"/>
            <p:cNvSpPr/>
            <p:nvPr/>
          </p:nvSpPr>
          <p:spPr>
            <a:xfrm>
              <a:off x="4139707" y="4000500"/>
              <a:ext cx="274369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Rectangle 410"/>
            <p:cNvSpPr/>
            <p:nvPr/>
          </p:nvSpPr>
          <p:spPr>
            <a:xfrm>
              <a:off x="4139707" y="3285068"/>
              <a:ext cx="274369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3" name="Group 411"/>
          <p:cNvGrpSpPr/>
          <p:nvPr/>
        </p:nvGrpSpPr>
        <p:grpSpPr>
          <a:xfrm>
            <a:off x="10649239" y="3386023"/>
            <a:ext cx="731001" cy="897466"/>
            <a:chOff x="6883399" y="3285068"/>
            <a:chExt cx="3465378" cy="897466"/>
          </a:xfrm>
          <a:solidFill>
            <a:srgbClr val="F39C12"/>
          </a:solidFill>
        </p:grpSpPr>
        <p:sp>
          <p:nvSpPr>
            <p:cNvPr id="34" name="Rectangle 412"/>
            <p:cNvSpPr/>
            <p:nvPr/>
          </p:nvSpPr>
          <p:spPr>
            <a:xfrm>
              <a:off x="6883399" y="4000500"/>
              <a:ext cx="3465378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Rectangle 413"/>
            <p:cNvSpPr/>
            <p:nvPr/>
          </p:nvSpPr>
          <p:spPr>
            <a:xfrm>
              <a:off x="6883399" y="3285068"/>
              <a:ext cx="3465378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9" name="TextBox 417"/>
          <p:cNvSpPr txBox="1"/>
          <p:nvPr/>
        </p:nvSpPr>
        <p:spPr>
          <a:xfrm>
            <a:off x="-26450" y="3666769"/>
            <a:ext cx="187102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pt-BR"/>
            </a:defPPr>
            <a:lvl1pPr algn="ctr">
              <a:defRPr sz="2000" b="1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defRPr>
            </a:lvl1pPr>
          </a:lstStyle>
          <a:p>
            <a:r>
              <a:rPr lang="pt-BR" dirty="0"/>
              <a:t>AGO/17 – OUT/17</a:t>
            </a:r>
            <a:endParaRPr lang="id-ID" dirty="0"/>
          </a:p>
        </p:txBody>
      </p:sp>
      <p:sp>
        <p:nvSpPr>
          <p:cNvPr id="40" name="TextBox 418"/>
          <p:cNvSpPr txBox="1"/>
          <p:nvPr/>
        </p:nvSpPr>
        <p:spPr>
          <a:xfrm>
            <a:off x="2467738" y="3652701"/>
            <a:ext cx="1872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pt-BR"/>
            </a:defPPr>
            <a:lvl1pPr algn="ctr">
              <a:defRPr sz="2000" b="1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defRPr>
            </a:lvl1pPr>
          </a:lstStyle>
          <a:p>
            <a:r>
              <a:rPr lang="pt-BR" dirty="0"/>
              <a:t>NOV/17 – MAI/18</a:t>
            </a:r>
            <a:endParaRPr lang="id-ID" dirty="0"/>
          </a:p>
        </p:txBody>
      </p:sp>
      <p:sp>
        <p:nvSpPr>
          <p:cNvPr id="41" name="TextBox 420"/>
          <p:cNvSpPr txBox="1"/>
          <p:nvPr/>
        </p:nvSpPr>
        <p:spPr>
          <a:xfrm>
            <a:off x="10556665" y="3671577"/>
            <a:ext cx="93807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pt-BR"/>
            </a:defPPr>
            <a:lvl1pPr algn="ctr">
              <a:defRPr sz="2000" b="1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defRPr>
            </a:lvl1pPr>
          </a:lstStyle>
          <a:p>
            <a:r>
              <a:rPr lang="pt-BR" dirty="0" smtClean="0"/>
              <a:t>ABR/19</a:t>
            </a:r>
            <a:endParaRPr lang="id-ID" dirty="0"/>
          </a:p>
        </p:txBody>
      </p:sp>
      <p:cxnSp>
        <p:nvCxnSpPr>
          <p:cNvPr id="44" name="Straight Connector 424"/>
          <p:cNvCxnSpPr/>
          <p:nvPr/>
        </p:nvCxnSpPr>
        <p:spPr>
          <a:xfrm>
            <a:off x="83398" y="2360509"/>
            <a:ext cx="1" cy="1025514"/>
          </a:xfrm>
          <a:prstGeom prst="line">
            <a:avLst/>
          </a:prstGeom>
          <a:noFill/>
          <a:ln w="12700" cap="flat" cmpd="sng" algn="ctr">
            <a:solidFill>
              <a:srgbClr val="2980B9"/>
            </a:solidFill>
            <a:prstDash val="sysDash"/>
            <a:miter lim="800000"/>
            <a:headEnd type="oval"/>
          </a:ln>
          <a:effectLst/>
        </p:spPr>
      </p:cxnSp>
      <p:sp>
        <p:nvSpPr>
          <p:cNvPr id="47" name="TextBox 428"/>
          <p:cNvSpPr txBox="1"/>
          <p:nvPr/>
        </p:nvSpPr>
        <p:spPr>
          <a:xfrm>
            <a:off x="1795205" y="1821461"/>
            <a:ext cx="21498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>
                <a:solidFill>
                  <a:srgbClr val="7030A0"/>
                </a:solidFill>
                <a:latin typeface="Calibri"/>
              </a:rPr>
              <a:t>FASE: DESENVOLVIMENTO</a:t>
            </a:r>
            <a:endParaRPr lang="id-ID" sz="1400" b="1" i="1" dirty="0">
              <a:solidFill>
                <a:srgbClr val="7030A0"/>
              </a:solidFill>
              <a:latin typeface="Calibri"/>
            </a:endParaRPr>
          </a:p>
        </p:txBody>
      </p:sp>
      <p:cxnSp>
        <p:nvCxnSpPr>
          <p:cNvPr id="48" name="Straight Connector 429"/>
          <p:cNvCxnSpPr/>
          <p:nvPr/>
        </p:nvCxnSpPr>
        <p:spPr>
          <a:xfrm>
            <a:off x="1879875" y="2358439"/>
            <a:ext cx="0" cy="1015627"/>
          </a:xfrm>
          <a:prstGeom prst="line">
            <a:avLst/>
          </a:prstGeom>
          <a:noFill/>
          <a:ln w="12700" cap="flat" cmpd="sng" algn="ctr">
            <a:solidFill>
              <a:srgbClr val="16A085"/>
            </a:solidFill>
            <a:prstDash val="sysDash"/>
            <a:miter lim="800000"/>
            <a:headEnd type="oval"/>
          </a:ln>
          <a:effectLst/>
        </p:spPr>
      </p:cxnSp>
      <p:cxnSp>
        <p:nvCxnSpPr>
          <p:cNvPr id="49" name="Straight Connector 430"/>
          <p:cNvCxnSpPr/>
          <p:nvPr/>
        </p:nvCxnSpPr>
        <p:spPr>
          <a:xfrm flipH="1">
            <a:off x="5037332" y="2322707"/>
            <a:ext cx="1" cy="1076964"/>
          </a:xfrm>
          <a:prstGeom prst="line">
            <a:avLst/>
          </a:prstGeom>
          <a:noFill/>
          <a:ln w="12700" cap="flat" cmpd="sng" algn="ctr">
            <a:solidFill>
              <a:srgbClr val="16A085"/>
            </a:solidFill>
            <a:prstDash val="sysDash"/>
            <a:miter lim="800000"/>
            <a:headEnd type="oval"/>
          </a:ln>
          <a:effectLst/>
        </p:spPr>
      </p:cxnSp>
      <p:sp>
        <p:nvSpPr>
          <p:cNvPr id="50" name="TextBox 431"/>
          <p:cNvSpPr txBox="1"/>
          <p:nvPr/>
        </p:nvSpPr>
        <p:spPr>
          <a:xfrm>
            <a:off x="1924854" y="2459070"/>
            <a:ext cx="231448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>
                <a:solidFill>
                  <a:srgbClr val="00A596"/>
                </a:solidFill>
                <a:latin typeface="Calibri"/>
              </a:rPr>
              <a:t>CONFIGURAÇÃO</a:t>
            </a:r>
          </a:p>
          <a:p>
            <a:r>
              <a:rPr lang="pt-BR" sz="1400" dirty="0" smtClean="0">
                <a:solidFill>
                  <a:srgbClr val="00A596"/>
                </a:solidFill>
                <a:latin typeface="Calibri"/>
              </a:rPr>
              <a:t>DESENVOLVIMENTO</a:t>
            </a:r>
          </a:p>
          <a:p>
            <a:r>
              <a:rPr lang="pt-BR" sz="1400" dirty="0" smtClean="0">
                <a:solidFill>
                  <a:srgbClr val="00A596"/>
                </a:solidFill>
                <a:latin typeface="Calibri"/>
              </a:rPr>
              <a:t>INFRAESTRUTURA</a:t>
            </a:r>
            <a:endParaRPr lang="id-ID" sz="1400" dirty="0">
              <a:solidFill>
                <a:srgbClr val="00A596"/>
              </a:solidFill>
              <a:latin typeface="Calibri"/>
            </a:endParaRPr>
          </a:p>
        </p:txBody>
      </p:sp>
      <p:cxnSp>
        <p:nvCxnSpPr>
          <p:cNvPr id="59" name="Straight Connector 456"/>
          <p:cNvCxnSpPr/>
          <p:nvPr/>
        </p:nvCxnSpPr>
        <p:spPr>
          <a:xfrm>
            <a:off x="10656567" y="2309059"/>
            <a:ext cx="0" cy="1120539"/>
          </a:xfrm>
          <a:prstGeom prst="line">
            <a:avLst/>
          </a:prstGeom>
          <a:noFill/>
          <a:ln w="12700" cap="flat" cmpd="sng" algn="ctr">
            <a:solidFill>
              <a:srgbClr val="F39C12"/>
            </a:solidFill>
            <a:prstDash val="sysDash"/>
            <a:miter lim="800000"/>
            <a:headEnd type="oval"/>
          </a:ln>
          <a:effectLst/>
        </p:spPr>
      </p:cxnSp>
      <p:sp>
        <p:nvSpPr>
          <p:cNvPr id="71" name="TextBox 420"/>
          <p:cNvSpPr txBox="1"/>
          <p:nvPr/>
        </p:nvSpPr>
        <p:spPr>
          <a:xfrm>
            <a:off x="6708725" y="3650376"/>
            <a:ext cx="196239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pt-BR"/>
            </a:defPPr>
            <a:lvl1pPr algn="ctr">
              <a:defRPr sz="2000" b="1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defRPr>
            </a:lvl1pPr>
          </a:lstStyle>
          <a:p>
            <a:r>
              <a:rPr lang="pt-BR" dirty="0"/>
              <a:t>JUN/18 – MAR/19</a:t>
            </a:r>
            <a:endParaRPr lang="id-ID" dirty="0"/>
          </a:p>
        </p:txBody>
      </p:sp>
      <p:cxnSp>
        <p:nvCxnSpPr>
          <p:cNvPr id="102" name="Straight Connector 424"/>
          <p:cNvCxnSpPr/>
          <p:nvPr/>
        </p:nvCxnSpPr>
        <p:spPr>
          <a:xfrm flipV="1">
            <a:off x="553693" y="4252718"/>
            <a:ext cx="0" cy="703664"/>
          </a:xfrm>
          <a:prstGeom prst="line">
            <a:avLst/>
          </a:prstGeom>
          <a:noFill/>
          <a:ln w="12700" cap="flat" cmpd="sng" algn="ctr">
            <a:solidFill>
              <a:srgbClr val="2980B9"/>
            </a:solidFill>
            <a:prstDash val="sysDash"/>
            <a:miter lim="800000"/>
            <a:headEnd type="oval"/>
          </a:ln>
          <a:effectLst/>
        </p:spPr>
      </p:cxnSp>
      <p:sp>
        <p:nvSpPr>
          <p:cNvPr id="69" name="TextBox 455"/>
          <p:cNvSpPr txBox="1"/>
          <p:nvPr/>
        </p:nvSpPr>
        <p:spPr>
          <a:xfrm>
            <a:off x="100805" y="4989681"/>
            <a:ext cx="2206297" cy="1600438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solidFill>
                  <a:srgbClr val="002060"/>
                </a:solidFill>
              </a:rPr>
              <a:t>Definição da estratégia de </a:t>
            </a:r>
            <a:r>
              <a:rPr lang="pt-BR" sz="1400" dirty="0" err="1" smtClean="0">
                <a:solidFill>
                  <a:srgbClr val="002060"/>
                </a:solidFill>
              </a:rPr>
              <a:t>faseamento</a:t>
            </a:r>
            <a:r>
              <a:rPr lang="pt-BR" sz="1400" dirty="0" smtClean="0">
                <a:solidFill>
                  <a:srgbClr val="002060"/>
                </a:solidFill>
              </a:rPr>
              <a:t> do proje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solidFill>
                  <a:srgbClr val="002060"/>
                </a:solidFill>
                <a:latin typeface="Calibri"/>
              </a:rPr>
              <a:t>Elaboração do cronogram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solidFill>
                  <a:srgbClr val="002060"/>
                </a:solidFill>
                <a:latin typeface="Calibri"/>
              </a:rPr>
              <a:t>Elaboração e aprovação do Desenho da Solução</a:t>
            </a:r>
            <a:endParaRPr lang="pt-BR" sz="1400" dirty="0">
              <a:solidFill>
                <a:srgbClr val="002060"/>
              </a:solidFill>
              <a:latin typeface="Calibri"/>
            </a:endParaRPr>
          </a:p>
        </p:txBody>
      </p:sp>
      <p:cxnSp>
        <p:nvCxnSpPr>
          <p:cNvPr id="90" name="Straight Connector 449"/>
          <p:cNvCxnSpPr/>
          <p:nvPr/>
        </p:nvCxnSpPr>
        <p:spPr>
          <a:xfrm flipV="1">
            <a:off x="5628062" y="4244078"/>
            <a:ext cx="0" cy="712304"/>
          </a:xfrm>
          <a:prstGeom prst="line">
            <a:avLst/>
          </a:prstGeom>
          <a:noFill/>
          <a:ln w="12700" cap="flat" cmpd="sng" algn="ctr">
            <a:solidFill>
              <a:srgbClr val="9BBB59"/>
            </a:solidFill>
            <a:prstDash val="sysDash"/>
            <a:miter lim="800000"/>
            <a:headEnd type="oval"/>
          </a:ln>
          <a:effectLst/>
        </p:spPr>
      </p:cxnSp>
      <p:sp>
        <p:nvSpPr>
          <p:cNvPr id="70" name="TextBox 428"/>
          <p:cNvSpPr txBox="1"/>
          <p:nvPr/>
        </p:nvSpPr>
        <p:spPr>
          <a:xfrm>
            <a:off x="2651100" y="4997209"/>
            <a:ext cx="2336449" cy="1384995"/>
          </a:xfrm>
          <a:prstGeom prst="rect">
            <a:avLst/>
          </a:prstGeom>
          <a:noFill/>
          <a:ln>
            <a:solidFill>
              <a:srgbClr val="00A596"/>
            </a:soli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7030A0"/>
                </a:solidFill>
                <a:latin typeface="Calibri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rgbClr val="00A596"/>
                </a:solidFill>
              </a:rPr>
              <a:t>Configurações e desenvolvimen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rgbClr val="00A596"/>
                </a:solidFill>
              </a:rPr>
              <a:t>Testes unitári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rgbClr val="00A596"/>
                </a:solidFill>
              </a:rPr>
              <a:t>Disponibilização da infraestrutur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d-ID" dirty="0">
              <a:solidFill>
                <a:srgbClr val="00A596"/>
              </a:solidFill>
            </a:endParaRPr>
          </a:p>
        </p:txBody>
      </p:sp>
      <p:cxnSp>
        <p:nvCxnSpPr>
          <p:cNvPr id="78" name="Straight Connector 424"/>
          <p:cNvCxnSpPr/>
          <p:nvPr/>
        </p:nvCxnSpPr>
        <p:spPr>
          <a:xfrm flipH="1" flipV="1">
            <a:off x="2858560" y="4268638"/>
            <a:ext cx="11562" cy="687744"/>
          </a:xfrm>
          <a:prstGeom prst="line">
            <a:avLst/>
          </a:prstGeom>
          <a:noFill/>
          <a:ln w="12700" cap="flat" cmpd="sng" algn="ctr">
            <a:solidFill>
              <a:srgbClr val="16A085"/>
            </a:solidFill>
            <a:prstDash val="sysDash"/>
            <a:miter lim="800000"/>
            <a:headEnd type="oval"/>
          </a:ln>
          <a:effectLst/>
        </p:spPr>
      </p:cxnSp>
      <p:sp>
        <p:nvSpPr>
          <p:cNvPr id="79" name="TextBox 431"/>
          <p:cNvSpPr txBox="1"/>
          <p:nvPr/>
        </p:nvSpPr>
        <p:spPr>
          <a:xfrm>
            <a:off x="5392595" y="4997209"/>
            <a:ext cx="2907469" cy="1384995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FF0000"/>
                </a:solidFill>
                <a:latin typeface="Calibri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chemeClr val="accent6">
                    <a:lumMod val="75000"/>
                  </a:schemeClr>
                </a:solidFill>
              </a:rPr>
              <a:t>Testes integrados e UAT de todos os cenários previst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chemeClr val="accent6">
                    <a:lumMod val="75000"/>
                  </a:schemeClr>
                </a:solidFill>
              </a:rPr>
              <a:t>Correções de err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chemeClr val="accent6">
                    <a:lumMod val="75000"/>
                  </a:schemeClr>
                </a:solidFill>
              </a:rPr>
              <a:t>Elaboração do material de treinamen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chemeClr val="accent6">
                    <a:lumMod val="75000"/>
                  </a:schemeClr>
                </a:solidFill>
              </a:rPr>
              <a:t>Aplicação do treinamento</a:t>
            </a:r>
            <a:endParaRPr lang="id-ID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85" name="TextBox 468"/>
          <p:cNvSpPr txBox="1"/>
          <p:nvPr/>
        </p:nvSpPr>
        <p:spPr>
          <a:xfrm>
            <a:off x="10717887" y="2350003"/>
            <a:ext cx="125692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>
                <a:solidFill>
                  <a:schemeClr val="accent2">
                    <a:lumMod val="75000"/>
                  </a:schemeClr>
                </a:solidFill>
                <a:latin typeface="Calibri"/>
              </a:rPr>
              <a:t>PREPARAÇÃO</a:t>
            </a:r>
          </a:p>
          <a:p>
            <a:r>
              <a:rPr lang="pt-BR" sz="1400" dirty="0" smtClean="0">
                <a:solidFill>
                  <a:schemeClr val="accent2">
                    <a:lumMod val="75000"/>
                  </a:schemeClr>
                </a:solidFill>
                <a:latin typeface="Calibri"/>
              </a:rPr>
              <a:t>GO LIVE</a:t>
            </a:r>
          </a:p>
          <a:p>
            <a:r>
              <a:rPr lang="pt-BR" sz="1400" dirty="0" smtClean="0">
                <a:solidFill>
                  <a:schemeClr val="accent2">
                    <a:lumMod val="75000"/>
                  </a:schemeClr>
                </a:solidFill>
                <a:latin typeface="Calibri"/>
              </a:rPr>
              <a:t>SUPORTE</a:t>
            </a:r>
            <a:endParaRPr lang="id-ID" sz="1400" dirty="0">
              <a:solidFill>
                <a:schemeClr val="accent2">
                  <a:lumMod val="75000"/>
                </a:schemeClr>
              </a:solidFill>
              <a:latin typeface="Calibri"/>
            </a:endParaRPr>
          </a:p>
        </p:txBody>
      </p:sp>
      <p:sp>
        <p:nvSpPr>
          <p:cNvPr id="42" name="TextBox 377"/>
          <p:cNvSpPr txBox="1"/>
          <p:nvPr/>
        </p:nvSpPr>
        <p:spPr>
          <a:xfrm>
            <a:off x="-617464" y="1826074"/>
            <a:ext cx="282047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00A596"/>
                </a:solidFill>
                <a:latin typeface="Calibri"/>
              </a:defRPr>
            </a:lvl1pPr>
          </a:lstStyle>
          <a:p>
            <a:pPr algn="ctr"/>
            <a:r>
              <a:rPr lang="pt-BR" b="1" dirty="0" smtClean="0">
                <a:solidFill>
                  <a:srgbClr val="002060"/>
                </a:solidFill>
              </a:rPr>
              <a:t>FASE:  PLANEJ/DSOL </a:t>
            </a:r>
            <a:endParaRPr lang="id-ID" sz="1050" b="1" dirty="0">
              <a:solidFill>
                <a:srgbClr val="002060"/>
              </a:solidFill>
            </a:endParaRPr>
          </a:p>
        </p:txBody>
      </p:sp>
      <p:sp>
        <p:nvSpPr>
          <p:cNvPr id="43" name="TextBox 431"/>
          <p:cNvSpPr txBox="1"/>
          <p:nvPr/>
        </p:nvSpPr>
        <p:spPr>
          <a:xfrm>
            <a:off x="5058627" y="2421181"/>
            <a:ext cx="18587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>
                <a:solidFill>
                  <a:schemeClr val="accent6">
                    <a:lumMod val="75000"/>
                  </a:schemeClr>
                </a:solidFill>
                <a:latin typeface="Calibri"/>
              </a:rPr>
              <a:t>TESTE INTEGRADO</a:t>
            </a:r>
          </a:p>
          <a:p>
            <a:r>
              <a:rPr lang="pt-BR" sz="1400" dirty="0" smtClean="0">
                <a:solidFill>
                  <a:schemeClr val="accent6">
                    <a:lumMod val="75000"/>
                  </a:schemeClr>
                </a:solidFill>
                <a:latin typeface="Calibri"/>
              </a:rPr>
              <a:t>UAT</a:t>
            </a:r>
          </a:p>
          <a:p>
            <a:r>
              <a:rPr lang="pt-BR" sz="1400" dirty="0" smtClean="0">
                <a:solidFill>
                  <a:schemeClr val="accent6">
                    <a:lumMod val="75000"/>
                  </a:schemeClr>
                </a:solidFill>
                <a:latin typeface="Calibri"/>
              </a:rPr>
              <a:t>TREINAMENTO</a:t>
            </a:r>
            <a:endParaRPr lang="id-ID" sz="1400" dirty="0">
              <a:solidFill>
                <a:schemeClr val="accent6">
                  <a:lumMod val="75000"/>
                </a:schemeClr>
              </a:solidFill>
              <a:latin typeface="Calibri"/>
            </a:endParaRPr>
          </a:p>
        </p:txBody>
      </p:sp>
      <p:sp>
        <p:nvSpPr>
          <p:cNvPr id="45" name="TextBox 468"/>
          <p:cNvSpPr txBox="1"/>
          <p:nvPr/>
        </p:nvSpPr>
        <p:spPr>
          <a:xfrm>
            <a:off x="10510672" y="1784103"/>
            <a:ext cx="17985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dirty="0" smtClean="0">
                <a:solidFill>
                  <a:schemeClr val="accent2">
                    <a:lumMod val="75000"/>
                  </a:schemeClr>
                </a:solidFill>
                <a:latin typeface="Calibri"/>
              </a:rPr>
              <a:t>FASE: GO LIVE</a:t>
            </a:r>
            <a:endParaRPr lang="id-ID" sz="1400" b="1" dirty="0">
              <a:solidFill>
                <a:schemeClr val="accent2">
                  <a:lumMod val="75000"/>
                </a:schemeClr>
              </a:solidFill>
              <a:latin typeface="Calibri"/>
            </a:endParaRPr>
          </a:p>
        </p:txBody>
      </p:sp>
      <p:sp>
        <p:nvSpPr>
          <p:cNvPr id="51" name="TextBox 431"/>
          <p:cNvSpPr txBox="1"/>
          <p:nvPr/>
        </p:nvSpPr>
        <p:spPr>
          <a:xfrm>
            <a:off x="9424032" y="5058036"/>
            <a:ext cx="2231721" cy="1169551"/>
          </a:xfrm>
          <a:prstGeom prst="rect">
            <a:avLst/>
          </a:prstGeom>
          <a:noFill/>
          <a:ln>
            <a:solidFill>
              <a:srgbClr val="FFA800"/>
            </a:soli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FF0000"/>
                </a:solidFill>
                <a:latin typeface="Calibri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err="1" smtClean="0">
                <a:solidFill>
                  <a:schemeClr val="accent2">
                    <a:lumMod val="75000"/>
                  </a:schemeClr>
                </a:solidFill>
              </a:rPr>
              <a:t>Prepação</a:t>
            </a:r>
            <a:r>
              <a:rPr lang="pt-BR" dirty="0" smtClean="0">
                <a:solidFill>
                  <a:schemeClr val="accent2">
                    <a:lumMod val="75000"/>
                  </a:schemeClr>
                </a:solidFill>
              </a:rPr>
              <a:t> para Go Li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chemeClr val="accent2">
                    <a:lumMod val="75000"/>
                  </a:schemeClr>
                </a:solidFill>
              </a:rPr>
              <a:t>GO Li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chemeClr val="accent2">
                    <a:lumMod val="75000"/>
                  </a:schemeClr>
                </a:solidFill>
              </a:rPr>
              <a:t>Operação Assistida (3 meses)</a:t>
            </a:r>
          </a:p>
          <a:p>
            <a:endParaRPr lang="id-ID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1" name="Estrela de 6 Pontas 10"/>
          <p:cNvSpPr/>
          <p:nvPr/>
        </p:nvSpPr>
        <p:spPr>
          <a:xfrm>
            <a:off x="11628581" y="3618037"/>
            <a:ext cx="218118" cy="377104"/>
          </a:xfrm>
          <a:prstGeom prst="star6">
            <a:avLst/>
          </a:prstGeom>
          <a:solidFill>
            <a:srgbClr val="FFFF00"/>
          </a:solidFill>
          <a:ln w="2540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CaixaDeTexto 11"/>
          <p:cNvSpPr txBox="1"/>
          <p:nvPr/>
        </p:nvSpPr>
        <p:spPr>
          <a:xfrm>
            <a:off x="5820139" y="711832"/>
            <a:ext cx="6246069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/>
              <a:t>Este macro cronograma contem datas previstas que podem sofrer alteraçõ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/>
              <a:t>Ao longo do andamento os </a:t>
            </a:r>
            <a:r>
              <a:rPr lang="pt-BR" sz="1400" dirty="0" err="1" smtClean="0"/>
              <a:t>reports</a:t>
            </a:r>
            <a:r>
              <a:rPr lang="pt-BR" sz="1400" dirty="0" smtClean="0"/>
              <a:t> serão feitos ajustando o que for necessár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/>
              <a:t>Somente teremos cronograma </a:t>
            </a:r>
            <a:r>
              <a:rPr lang="pt-BR" sz="1400" dirty="0"/>
              <a:t> </a:t>
            </a:r>
            <a:r>
              <a:rPr lang="pt-BR" sz="1400" dirty="0" smtClean="0"/>
              <a:t>após  a conclusão da etapa de Planejamento</a:t>
            </a:r>
            <a:endParaRPr lang="pt-BR" sz="1400" dirty="0"/>
          </a:p>
        </p:txBody>
      </p:sp>
      <p:sp>
        <p:nvSpPr>
          <p:cNvPr id="46" name="TextBox 428"/>
          <p:cNvSpPr txBox="1"/>
          <p:nvPr/>
        </p:nvSpPr>
        <p:spPr>
          <a:xfrm>
            <a:off x="4410613" y="1789309"/>
            <a:ext cx="35004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>
                <a:solidFill>
                  <a:srgbClr val="7030A0"/>
                </a:solidFill>
                <a:latin typeface="Calibri"/>
              </a:rPr>
              <a:t>FASE: TESTES E TREINAMENTO </a:t>
            </a:r>
            <a:endParaRPr lang="id-ID" sz="1400" b="1" i="1" dirty="0">
              <a:solidFill>
                <a:srgbClr val="7030A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106062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3" name="Straight Connector 461"/>
          <p:cNvCxnSpPr/>
          <p:nvPr/>
        </p:nvCxnSpPr>
        <p:spPr>
          <a:xfrm flipV="1">
            <a:off x="10150424" y="4208259"/>
            <a:ext cx="0" cy="486571"/>
          </a:xfrm>
          <a:prstGeom prst="line">
            <a:avLst/>
          </a:prstGeom>
          <a:noFill/>
          <a:ln w="12700" cap="flat" cmpd="sng" algn="ctr">
            <a:solidFill>
              <a:schemeClr val="accent4"/>
            </a:solidFill>
            <a:prstDash val="sysDash"/>
            <a:miter lim="800000"/>
            <a:headEnd type="oval"/>
          </a:ln>
          <a:effectLst/>
        </p:spPr>
      </p:cxnSp>
      <p:pic>
        <p:nvPicPr>
          <p:cNvPr id="25" name="Imagem 24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rgbClr val="00B2A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80241" y="-76976"/>
            <a:ext cx="788808" cy="78880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6" name="CaixaDeTexto 25"/>
          <p:cNvSpPr txBox="1"/>
          <p:nvPr/>
        </p:nvSpPr>
        <p:spPr>
          <a:xfrm>
            <a:off x="6278499" y="155640"/>
            <a:ext cx="53500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sz="2400" dirty="0" smtClean="0">
                <a:solidFill>
                  <a:srgbClr val="00B2A7"/>
                </a:solidFill>
                <a:latin typeface="Simplon Oi Headline" pitchFamily="2" charset="0"/>
              </a:rPr>
              <a:t>Draft – macro cronograma - 2017</a:t>
            </a:r>
            <a:endParaRPr lang="pt-BR" sz="2400" dirty="0">
              <a:solidFill>
                <a:srgbClr val="00B2A7"/>
              </a:solidFill>
              <a:latin typeface="Simplon Oi Headline" pitchFamily="2" charset="0"/>
            </a:endParaRPr>
          </a:p>
        </p:txBody>
      </p:sp>
      <p:sp>
        <p:nvSpPr>
          <p:cNvPr id="28" name="CaixaDeTexto 27"/>
          <p:cNvSpPr txBox="1"/>
          <p:nvPr/>
        </p:nvSpPr>
        <p:spPr>
          <a:xfrm>
            <a:off x="208831" y="127057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dirty="0" err="1" smtClean="0">
                <a:solidFill>
                  <a:schemeClr val="bg1"/>
                </a:solidFill>
                <a:latin typeface="Simplon Oi Headline" pitchFamily="2" charset="0"/>
              </a:rPr>
              <a:t>Billing</a:t>
            </a:r>
            <a:r>
              <a:rPr lang="pt-BR" sz="2000" dirty="0" smtClean="0">
                <a:solidFill>
                  <a:schemeClr val="bg1"/>
                </a:solidFill>
                <a:latin typeface="Simplon Oi Headline" pitchFamily="2" charset="0"/>
              </a:rPr>
              <a:t> e TV</a:t>
            </a:r>
            <a:endParaRPr lang="pt-BR" sz="2000" dirty="0">
              <a:solidFill>
                <a:schemeClr val="bg1"/>
              </a:solidFill>
              <a:latin typeface="Simplon Oi Headline" pitchFamily="2" charset="0"/>
            </a:endParaRPr>
          </a:p>
        </p:txBody>
      </p:sp>
      <p:sp>
        <p:nvSpPr>
          <p:cNvPr id="27" name="Paralelogramo 26"/>
          <p:cNvSpPr/>
          <p:nvPr/>
        </p:nvSpPr>
        <p:spPr>
          <a:xfrm>
            <a:off x="81651" y="58817"/>
            <a:ext cx="5855593" cy="818918"/>
          </a:xfrm>
          <a:prstGeom prst="parallelogram">
            <a:avLst/>
          </a:prstGeom>
          <a:solidFill>
            <a:srgbClr val="00B2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2" name="CaixaDeTexto 31"/>
          <p:cNvSpPr txBox="1"/>
          <p:nvPr/>
        </p:nvSpPr>
        <p:spPr>
          <a:xfrm>
            <a:off x="203372" y="194192"/>
            <a:ext cx="57338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 smtClean="0">
                <a:solidFill>
                  <a:schemeClr val="bg1"/>
                </a:solidFill>
                <a:latin typeface="Simplon Oi Headline" pitchFamily="2" charset="0"/>
              </a:rPr>
              <a:t>Novo antifraude RAID-FMS</a:t>
            </a:r>
          </a:p>
        </p:txBody>
      </p:sp>
      <p:sp>
        <p:nvSpPr>
          <p:cNvPr id="14" name="TextBox 377"/>
          <p:cNvSpPr txBox="1"/>
          <p:nvPr/>
        </p:nvSpPr>
        <p:spPr>
          <a:xfrm>
            <a:off x="309763" y="2160395"/>
            <a:ext cx="2951969" cy="133113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00A596"/>
                </a:solidFill>
                <a:latin typeface="Calibri"/>
              </a:defRPr>
            </a:lvl1pPr>
          </a:lstStyle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dirty="0" smtClean="0">
                <a:solidFill>
                  <a:schemeClr val="accent1">
                    <a:lumMod val="50000"/>
                  </a:schemeClr>
                </a:solidFill>
                <a:latin typeface="Simplon BP Regular" pitchFamily="2" charset="0"/>
              </a:rPr>
              <a:t>MOBILIZAÇÃO E ALOCAÇÃO DE TIME DEDICADO: TI, FÁBRICAS E USUÁRIO EM ANDAMENTO. </a:t>
            </a:r>
          </a:p>
          <a:p>
            <a:r>
              <a:rPr lang="pt-BR" dirty="0" smtClean="0">
                <a:solidFill>
                  <a:schemeClr val="accent1">
                    <a:lumMod val="50000"/>
                  </a:schemeClr>
                </a:solidFill>
                <a:latin typeface="Simplon BP Regular" pitchFamily="2" charset="0"/>
                <a:sym typeface="Wingdings" panose="05000000000000000000" pitchFamily="2" charset="2"/>
              </a:rPr>
              <a:t>       </a:t>
            </a:r>
            <a:r>
              <a:rPr lang="pt-BR" dirty="0" smtClean="0">
                <a:solidFill>
                  <a:srgbClr val="FF0000"/>
                </a:solidFill>
                <a:latin typeface="Simplon BP Regular" pitchFamily="2" charset="0"/>
              </a:rPr>
              <a:t>(Pendente </a:t>
            </a:r>
            <a:r>
              <a:rPr lang="pt-BR" dirty="0" smtClean="0">
                <a:solidFill>
                  <a:srgbClr val="FF0000"/>
                </a:solidFill>
                <a:latin typeface="Simplon BP Regular" pitchFamily="2" charset="0"/>
              </a:rPr>
              <a:t>PMO)</a:t>
            </a:r>
            <a:endParaRPr lang="pt-BR" dirty="0" smtClean="0">
              <a:solidFill>
                <a:srgbClr val="FF0000"/>
              </a:solidFill>
              <a:latin typeface="Simplon BP Regular" pitchFamily="2" charset="0"/>
            </a:endParaRPr>
          </a:p>
          <a:p>
            <a:r>
              <a:rPr lang="pt-BR" dirty="0" smtClean="0">
                <a:solidFill>
                  <a:schemeClr val="accent1">
                    <a:lumMod val="50000"/>
                  </a:schemeClr>
                </a:solidFill>
                <a:latin typeface="Simplon BP Regular" pitchFamily="2" charset="0"/>
                <a:sym typeface="Wingdings" panose="05000000000000000000" pitchFamily="2" charset="2"/>
              </a:rPr>
              <a:t> </a:t>
            </a:r>
            <a:r>
              <a:rPr lang="pt-BR" dirty="0" smtClean="0">
                <a:solidFill>
                  <a:schemeClr val="accent1">
                    <a:lumMod val="50000"/>
                  </a:schemeClr>
                </a:solidFill>
                <a:latin typeface="Simplon BP Regular" pitchFamily="2" charset="0"/>
              </a:rPr>
              <a:t>INICIADO PROCESSO INFRA</a:t>
            </a:r>
          </a:p>
          <a:p>
            <a:pPr marL="171450" indent="-171450">
              <a:buFontTx/>
              <a:buChar char="-"/>
            </a:pPr>
            <a:endParaRPr lang="id-ID" sz="1050" dirty="0">
              <a:solidFill>
                <a:schemeClr val="accent1">
                  <a:lumMod val="50000"/>
                </a:schemeClr>
              </a:solidFill>
            </a:endParaRPr>
          </a:p>
        </p:txBody>
      </p:sp>
      <p:grpSp>
        <p:nvGrpSpPr>
          <p:cNvPr id="19" name="Group 378"/>
          <p:cNvGrpSpPr/>
          <p:nvPr/>
        </p:nvGrpSpPr>
        <p:grpSpPr>
          <a:xfrm>
            <a:off x="-1" y="3386023"/>
            <a:ext cx="2995799" cy="897466"/>
            <a:chOff x="0" y="3285068"/>
            <a:chExt cx="1490133" cy="897466"/>
          </a:xfrm>
          <a:solidFill>
            <a:srgbClr val="2980B9"/>
          </a:solidFill>
        </p:grpSpPr>
        <p:sp>
          <p:nvSpPr>
            <p:cNvPr id="20" name="Rectangle 379"/>
            <p:cNvSpPr/>
            <p:nvPr/>
          </p:nvSpPr>
          <p:spPr>
            <a:xfrm>
              <a:off x="0" y="4000500"/>
              <a:ext cx="1490133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Rectangle 404"/>
            <p:cNvSpPr/>
            <p:nvPr/>
          </p:nvSpPr>
          <p:spPr>
            <a:xfrm>
              <a:off x="0" y="3285068"/>
              <a:ext cx="1490133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2" name="Group 405"/>
          <p:cNvGrpSpPr/>
          <p:nvPr/>
        </p:nvGrpSpPr>
        <p:grpSpPr>
          <a:xfrm>
            <a:off x="2995798" y="3386023"/>
            <a:ext cx="2927797" cy="897466"/>
            <a:chOff x="1490133" y="3285068"/>
            <a:chExt cx="2657032" cy="897466"/>
          </a:xfrm>
          <a:solidFill>
            <a:srgbClr val="16A085"/>
          </a:solidFill>
        </p:grpSpPr>
        <p:sp>
          <p:nvSpPr>
            <p:cNvPr id="23" name="Rectangle 406"/>
            <p:cNvSpPr/>
            <p:nvPr/>
          </p:nvSpPr>
          <p:spPr>
            <a:xfrm>
              <a:off x="1490133" y="4000500"/>
              <a:ext cx="265703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Rectangle 407"/>
            <p:cNvSpPr/>
            <p:nvPr/>
          </p:nvSpPr>
          <p:spPr>
            <a:xfrm>
              <a:off x="1490133" y="3285068"/>
              <a:ext cx="265703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9" name="Group 408"/>
          <p:cNvGrpSpPr/>
          <p:nvPr/>
        </p:nvGrpSpPr>
        <p:grpSpPr>
          <a:xfrm>
            <a:off x="5745714" y="3386023"/>
            <a:ext cx="2915597" cy="897466"/>
            <a:chOff x="4139707" y="3285068"/>
            <a:chExt cx="2743692" cy="897466"/>
          </a:xfrm>
          <a:solidFill>
            <a:srgbClr val="9BBB59"/>
          </a:solidFill>
        </p:grpSpPr>
        <p:sp>
          <p:nvSpPr>
            <p:cNvPr id="30" name="Rectangle 409"/>
            <p:cNvSpPr/>
            <p:nvPr/>
          </p:nvSpPr>
          <p:spPr>
            <a:xfrm>
              <a:off x="4139707" y="4000500"/>
              <a:ext cx="274369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Rectangle 410"/>
            <p:cNvSpPr/>
            <p:nvPr/>
          </p:nvSpPr>
          <p:spPr>
            <a:xfrm>
              <a:off x="4139707" y="3285068"/>
              <a:ext cx="274369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3" name="Group 411"/>
          <p:cNvGrpSpPr/>
          <p:nvPr/>
        </p:nvGrpSpPr>
        <p:grpSpPr>
          <a:xfrm>
            <a:off x="8661311" y="3386023"/>
            <a:ext cx="2652680" cy="897466"/>
            <a:chOff x="6883399" y="3285068"/>
            <a:chExt cx="3465378" cy="897466"/>
          </a:xfrm>
          <a:solidFill>
            <a:srgbClr val="F39C12"/>
          </a:solidFill>
        </p:grpSpPr>
        <p:sp>
          <p:nvSpPr>
            <p:cNvPr id="34" name="Rectangle 412"/>
            <p:cNvSpPr/>
            <p:nvPr/>
          </p:nvSpPr>
          <p:spPr>
            <a:xfrm>
              <a:off x="6883399" y="4000500"/>
              <a:ext cx="3465378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Rectangle 413"/>
            <p:cNvSpPr/>
            <p:nvPr/>
          </p:nvSpPr>
          <p:spPr>
            <a:xfrm>
              <a:off x="6883399" y="3285068"/>
              <a:ext cx="3465378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9" name="TextBox 417"/>
          <p:cNvSpPr txBox="1"/>
          <p:nvPr/>
        </p:nvSpPr>
        <p:spPr>
          <a:xfrm>
            <a:off x="903185" y="3652701"/>
            <a:ext cx="102463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2000" b="1" dirty="0" smtClean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AGOSTO</a:t>
            </a:r>
            <a:endParaRPr lang="id-ID" sz="2000" b="1" dirty="0">
              <a:solidFill>
                <a:prstClr val="white">
                  <a:lumMod val="50000"/>
                </a:prstClr>
              </a:solidFill>
              <a:latin typeface="Simplon BP Regular" pitchFamily="2" charset="0"/>
            </a:endParaRPr>
          </a:p>
        </p:txBody>
      </p:sp>
      <p:sp>
        <p:nvSpPr>
          <p:cNvPr id="40" name="TextBox 418"/>
          <p:cNvSpPr txBox="1"/>
          <p:nvPr/>
        </p:nvSpPr>
        <p:spPr>
          <a:xfrm>
            <a:off x="3748660" y="3652701"/>
            <a:ext cx="134684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2000" b="1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SETEMBRO</a:t>
            </a:r>
            <a:endParaRPr lang="id-ID" sz="2000" b="1" dirty="0">
              <a:solidFill>
                <a:prstClr val="white">
                  <a:lumMod val="50000"/>
                </a:prstClr>
              </a:solidFill>
              <a:latin typeface="Simplon BP Regular" pitchFamily="2" charset="0"/>
            </a:endParaRPr>
          </a:p>
        </p:txBody>
      </p:sp>
      <p:sp>
        <p:nvSpPr>
          <p:cNvPr id="41" name="TextBox 420"/>
          <p:cNvSpPr txBox="1"/>
          <p:nvPr/>
        </p:nvSpPr>
        <p:spPr>
          <a:xfrm>
            <a:off x="9327027" y="3671577"/>
            <a:ext cx="139974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2000" b="1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NOVEMBRO</a:t>
            </a:r>
            <a:endParaRPr lang="id-ID" sz="2000" b="1" dirty="0">
              <a:solidFill>
                <a:prstClr val="white">
                  <a:lumMod val="50000"/>
                </a:prstClr>
              </a:solidFill>
              <a:latin typeface="Simplon BP Regular" pitchFamily="2" charset="0"/>
            </a:endParaRPr>
          </a:p>
        </p:txBody>
      </p:sp>
      <p:cxnSp>
        <p:nvCxnSpPr>
          <p:cNvPr id="44" name="Straight Connector 424"/>
          <p:cNvCxnSpPr/>
          <p:nvPr/>
        </p:nvCxnSpPr>
        <p:spPr>
          <a:xfrm>
            <a:off x="294418" y="2360509"/>
            <a:ext cx="1" cy="1025514"/>
          </a:xfrm>
          <a:prstGeom prst="line">
            <a:avLst/>
          </a:prstGeom>
          <a:noFill/>
          <a:ln w="12700" cap="flat" cmpd="sng" algn="ctr">
            <a:solidFill>
              <a:srgbClr val="2980B9"/>
            </a:solidFill>
            <a:prstDash val="sysDash"/>
            <a:miter lim="800000"/>
            <a:headEnd type="oval"/>
          </a:ln>
          <a:effectLst/>
        </p:spPr>
      </p:cxnSp>
      <p:sp>
        <p:nvSpPr>
          <p:cNvPr id="47" name="TextBox 428"/>
          <p:cNvSpPr txBox="1"/>
          <p:nvPr/>
        </p:nvSpPr>
        <p:spPr>
          <a:xfrm>
            <a:off x="3391160" y="1792485"/>
            <a:ext cx="50654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dirty="0">
                <a:solidFill>
                  <a:srgbClr val="00A596"/>
                </a:solidFill>
                <a:latin typeface="Simplon BP Regular" pitchFamily="2" charset="0"/>
              </a:rPr>
              <a:t>FASE: SCOPING PROGRAMA 1 E 2</a:t>
            </a:r>
          </a:p>
        </p:txBody>
      </p:sp>
      <p:cxnSp>
        <p:nvCxnSpPr>
          <p:cNvPr id="48" name="Straight Connector 429"/>
          <p:cNvCxnSpPr/>
          <p:nvPr/>
        </p:nvCxnSpPr>
        <p:spPr>
          <a:xfrm>
            <a:off x="3188799" y="2358439"/>
            <a:ext cx="0" cy="1015627"/>
          </a:xfrm>
          <a:prstGeom prst="line">
            <a:avLst/>
          </a:prstGeom>
          <a:noFill/>
          <a:ln w="12700" cap="flat" cmpd="sng" algn="ctr">
            <a:solidFill>
              <a:srgbClr val="16A085"/>
            </a:solidFill>
            <a:prstDash val="sysDash"/>
            <a:miter lim="800000"/>
            <a:headEnd type="oval"/>
          </a:ln>
          <a:effectLst/>
        </p:spPr>
      </p:cxnSp>
      <p:cxnSp>
        <p:nvCxnSpPr>
          <p:cNvPr id="49" name="Straight Connector 430"/>
          <p:cNvCxnSpPr/>
          <p:nvPr/>
        </p:nvCxnSpPr>
        <p:spPr>
          <a:xfrm flipH="1">
            <a:off x="5923595" y="2322707"/>
            <a:ext cx="1" cy="1076964"/>
          </a:xfrm>
          <a:prstGeom prst="line">
            <a:avLst/>
          </a:prstGeom>
          <a:noFill/>
          <a:ln w="12700" cap="flat" cmpd="sng" algn="ctr">
            <a:solidFill>
              <a:srgbClr val="16A085"/>
            </a:solidFill>
            <a:prstDash val="sysDash"/>
            <a:miter lim="800000"/>
            <a:headEnd type="oval"/>
          </a:ln>
          <a:effectLst/>
        </p:spPr>
      </p:cxnSp>
      <p:sp>
        <p:nvSpPr>
          <p:cNvPr id="50" name="TextBox 431"/>
          <p:cNvSpPr txBox="1"/>
          <p:nvPr/>
        </p:nvSpPr>
        <p:spPr>
          <a:xfrm>
            <a:off x="3247843" y="2332460"/>
            <a:ext cx="26498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pt-BR" sz="1400" dirty="0" smtClean="0">
                <a:solidFill>
                  <a:srgbClr val="00A596"/>
                </a:solidFill>
                <a:latin typeface="Simplon BP Regular" pitchFamily="2" charset="0"/>
              </a:rPr>
              <a:t>SCOPING: TI E NEGÓCIO AF</a:t>
            </a:r>
          </a:p>
          <a:p>
            <a:pPr marL="285750" indent="-285750">
              <a:buFontTx/>
              <a:buChar char="-"/>
            </a:pPr>
            <a:r>
              <a:rPr lang="pt-BR" sz="1400" dirty="0" smtClean="0">
                <a:solidFill>
                  <a:srgbClr val="00A596"/>
                </a:solidFill>
                <a:latin typeface="Simplon BP Regular" pitchFamily="2" charset="0"/>
              </a:rPr>
              <a:t>MODELAGEM PROCESSOS NAS ÁREAS DE NEGÓCIO</a:t>
            </a:r>
          </a:p>
          <a:p>
            <a:pPr marL="285750" indent="-285750">
              <a:buFontTx/>
              <a:buChar char="-"/>
            </a:pPr>
            <a:r>
              <a:rPr lang="pt-BR" sz="1400" dirty="0" smtClean="0">
                <a:solidFill>
                  <a:srgbClr val="00A596"/>
                </a:solidFill>
                <a:latin typeface="Simplon BP Regular" pitchFamily="2" charset="0"/>
              </a:rPr>
              <a:t>ENGENHARIA REVERSA E DAS</a:t>
            </a:r>
          </a:p>
        </p:txBody>
      </p:sp>
      <p:cxnSp>
        <p:nvCxnSpPr>
          <p:cNvPr id="59" name="Straight Connector 456"/>
          <p:cNvCxnSpPr/>
          <p:nvPr/>
        </p:nvCxnSpPr>
        <p:spPr>
          <a:xfrm>
            <a:off x="8968440" y="2309059"/>
            <a:ext cx="0" cy="1120539"/>
          </a:xfrm>
          <a:prstGeom prst="line">
            <a:avLst/>
          </a:prstGeom>
          <a:noFill/>
          <a:ln w="12700" cap="flat" cmpd="sng" algn="ctr">
            <a:solidFill>
              <a:srgbClr val="F39C12"/>
            </a:solidFill>
            <a:prstDash val="sysDash"/>
            <a:miter lim="800000"/>
            <a:headEnd type="oval"/>
          </a:ln>
          <a:effectLst/>
        </p:spPr>
      </p:cxnSp>
      <p:sp>
        <p:nvSpPr>
          <p:cNvPr id="71" name="TextBox 420"/>
          <p:cNvSpPr txBox="1"/>
          <p:nvPr/>
        </p:nvSpPr>
        <p:spPr>
          <a:xfrm>
            <a:off x="6273447" y="3650376"/>
            <a:ext cx="17638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OUTUBRO</a:t>
            </a:r>
            <a:endParaRPr lang="id-ID" sz="2000" b="1" dirty="0">
              <a:solidFill>
                <a:prstClr val="white">
                  <a:lumMod val="50000"/>
                </a:prstClr>
              </a:solidFill>
              <a:latin typeface="Simplon BP Regular" pitchFamily="2" charset="0"/>
            </a:endParaRPr>
          </a:p>
        </p:txBody>
      </p:sp>
      <p:cxnSp>
        <p:nvCxnSpPr>
          <p:cNvPr id="102" name="Straight Connector 424"/>
          <p:cNvCxnSpPr/>
          <p:nvPr/>
        </p:nvCxnSpPr>
        <p:spPr>
          <a:xfrm flipV="1">
            <a:off x="1088266" y="4252718"/>
            <a:ext cx="0" cy="442112"/>
          </a:xfrm>
          <a:prstGeom prst="line">
            <a:avLst/>
          </a:prstGeom>
          <a:noFill/>
          <a:ln w="12700" cap="flat" cmpd="sng" algn="ctr">
            <a:solidFill>
              <a:srgbClr val="2980B9"/>
            </a:solidFill>
            <a:prstDash val="sysDash"/>
            <a:miter lim="800000"/>
            <a:headEnd type="oval"/>
          </a:ln>
          <a:effectLst/>
        </p:spPr>
      </p:cxnSp>
      <p:sp>
        <p:nvSpPr>
          <p:cNvPr id="69" name="TextBox 455"/>
          <p:cNvSpPr txBox="1"/>
          <p:nvPr/>
        </p:nvSpPr>
        <p:spPr>
          <a:xfrm>
            <a:off x="32564" y="4757665"/>
            <a:ext cx="3049275" cy="1569660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r>
              <a:rPr lang="pt-BR" sz="1200" dirty="0" smtClean="0">
                <a:solidFill>
                  <a:schemeClr val="accent1">
                    <a:lumMod val="50000"/>
                  </a:schemeClr>
                </a:solidFill>
                <a:latin typeface="Simplon BP Regular" pitchFamily="2" charset="0"/>
                <a:sym typeface="Wingdings" panose="05000000000000000000" pitchFamily="2" charset="2"/>
              </a:rPr>
              <a:t> </a:t>
            </a:r>
            <a:r>
              <a:rPr lang="pt-BR" sz="1200" dirty="0" smtClean="0">
                <a:solidFill>
                  <a:srgbClr val="002060"/>
                </a:solidFill>
                <a:latin typeface="Simplon BP Regular" pitchFamily="2" charset="0"/>
              </a:rPr>
              <a:t>Alinhamento executivo da abordagem de </a:t>
            </a:r>
            <a:r>
              <a:rPr lang="pt-BR" sz="1200" dirty="0">
                <a:solidFill>
                  <a:srgbClr val="002060"/>
                </a:solidFill>
                <a:latin typeface="Simplon BP Regular" pitchFamily="2" charset="0"/>
              </a:rPr>
              <a:t> </a:t>
            </a:r>
            <a:r>
              <a:rPr lang="pt-BR" sz="1200" dirty="0" smtClean="0">
                <a:solidFill>
                  <a:srgbClr val="002060"/>
                </a:solidFill>
                <a:latin typeface="Simplon BP Regular" pitchFamily="2" charset="0"/>
              </a:rPr>
              <a:t>  entregas em 23 ondas definidas pelo usuário.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pt-BR" sz="1200" dirty="0" smtClean="0">
                <a:solidFill>
                  <a:srgbClr val="002060"/>
                </a:solidFill>
                <a:latin typeface="Simplon BP Regular" pitchFamily="2" charset="0"/>
              </a:rPr>
              <a:t>Definição  equipe dedicada ao projeto (GPs TI + GP WEDO + GPs negócio + PMO + AN + GT + </a:t>
            </a:r>
            <a:r>
              <a:rPr lang="pt-BR" sz="1200" dirty="0" err="1" smtClean="0">
                <a:solidFill>
                  <a:srgbClr val="002060"/>
                </a:solidFill>
                <a:latin typeface="Simplon BP Regular" pitchFamily="2" charset="0"/>
              </a:rPr>
              <a:t>RT´s</a:t>
            </a:r>
            <a:r>
              <a:rPr lang="pt-BR" sz="1200" dirty="0" smtClean="0">
                <a:solidFill>
                  <a:srgbClr val="002060"/>
                </a:solidFill>
                <a:latin typeface="Simplon BP Regular" pitchFamily="2" charset="0"/>
              </a:rPr>
              <a:t> + </a:t>
            </a:r>
            <a:r>
              <a:rPr lang="pt-BR" sz="1200" dirty="0" err="1" smtClean="0">
                <a:solidFill>
                  <a:srgbClr val="002060"/>
                </a:solidFill>
                <a:latin typeface="Simplon BP Regular" pitchFamily="2" charset="0"/>
              </a:rPr>
              <a:t>LTs</a:t>
            </a:r>
            <a:r>
              <a:rPr lang="pt-BR" sz="1200" dirty="0" smtClean="0">
                <a:solidFill>
                  <a:srgbClr val="002060"/>
                </a:solidFill>
                <a:latin typeface="Simplon BP Regular" pitchFamily="2" charset="0"/>
              </a:rPr>
              <a:t> + Usuários + Operação)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pt-BR" sz="1200" dirty="0" smtClean="0">
                <a:solidFill>
                  <a:srgbClr val="002060"/>
                </a:solidFill>
                <a:latin typeface="Simplon BP Regular" pitchFamily="2" charset="0"/>
              </a:rPr>
              <a:t>Abertura do PRJ24506 em Infra</a:t>
            </a:r>
            <a:endParaRPr lang="pt-BR" sz="1200" dirty="0">
              <a:solidFill>
                <a:srgbClr val="002060"/>
              </a:solidFill>
              <a:latin typeface="Simplon BP Regular" pitchFamily="2" charset="0"/>
            </a:endParaRPr>
          </a:p>
        </p:txBody>
      </p:sp>
      <p:cxnSp>
        <p:nvCxnSpPr>
          <p:cNvPr id="90" name="Straight Connector 449"/>
          <p:cNvCxnSpPr/>
          <p:nvPr/>
        </p:nvCxnSpPr>
        <p:spPr>
          <a:xfrm flipV="1">
            <a:off x="6823815" y="4268985"/>
            <a:ext cx="0" cy="180697"/>
          </a:xfrm>
          <a:prstGeom prst="line">
            <a:avLst/>
          </a:prstGeom>
          <a:noFill/>
          <a:ln w="12700" cap="flat" cmpd="sng" algn="ctr">
            <a:solidFill>
              <a:srgbClr val="9BBB59"/>
            </a:solidFill>
            <a:prstDash val="sysDash"/>
            <a:miter lim="800000"/>
            <a:headEnd type="oval"/>
          </a:ln>
          <a:effectLst/>
        </p:spPr>
      </p:cxnSp>
      <p:sp>
        <p:nvSpPr>
          <p:cNvPr id="70" name="TextBox 428"/>
          <p:cNvSpPr txBox="1"/>
          <p:nvPr/>
        </p:nvSpPr>
        <p:spPr>
          <a:xfrm>
            <a:off x="3177248" y="4449682"/>
            <a:ext cx="2991048" cy="2308324"/>
          </a:xfrm>
          <a:prstGeom prst="rect">
            <a:avLst/>
          </a:prstGeom>
          <a:noFill/>
          <a:ln>
            <a:solidFill>
              <a:srgbClr val="00A596"/>
            </a:soli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7030A0"/>
                </a:solidFill>
                <a:latin typeface="Calibri"/>
              </a:defRPr>
            </a:lvl1pPr>
          </a:lstStyle>
          <a:p>
            <a:r>
              <a:rPr lang="pt-BR" sz="1200" dirty="0">
                <a:solidFill>
                  <a:srgbClr val="00A596"/>
                </a:solidFill>
                <a:latin typeface="Simplon BP Regular" pitchFamily="2" charset="0"/>
              </a:rPr>
              <a:t>+ Realização de </a:t>
            </a:r>
            <a:r>
              <a:rPr lang="pt-BR" sz="1200" dirty="0" err="1" smtClean="0">
                <a:solidFill>
                  <a:srgbClr val="00A596"/>
                </a:solidFill>
                <a:latin typeface="Simplon BP Regular" pitchFamily="2" charset="0"/>
              </a:rPr>
              <a:t>scoping</a:t>
            </a:r>
            <a:r>
              <a:rPr lang="pt-BR" sz="1200" dirty="0" smtClean="0">
                <a:solidFill>
                  <a:srgbClr val="00A596"/>
                </a:solidFill>
                <a:latin typeface="Simplon BP Regular" pitchFamily="2" charset="0"/>
              </a:rPr>
              <a:t> </a:t>
            </a:r>
            <a:r>
              <a:rPr lang="pt-BR" sz="1200" dirty="0">
                <a:solidFill>
                  <a:srgbClr val="00A596"/>
                </a:solidFill>
                <a:latin typeface="Simplon BP Regular" pitchFamily="2" charset="0"/>
              </a:rPr>
              <a:t>e  modelagem de processos nas diversas áreas de negócio envolvidas (pendente </a:t>
            </a:r>
            <a:r>
              <a:rPr lang="pt-BR" sz="1200" dirty="0" smtClean="0">
                <a:solidFill>
                  <a:srgbClr val="00A596"/>
                </a:solidFill>
                <a:latin typeface="Simplon BP Regular" pitchFamily="2" charset="0"/>
              </a:rPr>
              <a:t>contratação)</a:t>
            </a:r>
            <a:endParaRPr lang="pt-BR" sz="1200" dirty="0">
              <a:solidFill>
                <a:srgbClr val="00A596"/>
              </a:solidFill>
              <a:latin typeface="Simplon BP Regular" pitchFamily="2" charset="0"/>
            </a:endParaRPr>
          </a:p>
          <a:p>
            <a:r>
              <a:rPr lang="pt-BR" sz="1200" dirty="0">
                <a:solidFill>
                  <a:srgbClr val="00A596"/>
                </a:solidFill>
                <a:latin typeface="Simplon BP Regular" pitchFamily="2" charset="0"/>
              </a:rPr>
              <a:t>+ </a:t>
            </a:r>
            <a:r>
              <a:rPr lang="pt-BR" sz="1200" dirty="0" smtClean="0">
                <a:solidFill>
                  <a:srgbClr val="00A596"/>
                </a:solidFill>
                <a:latin typeface="Simplon BP Regular" pitchFamily="2" charset="0"/>
              </a:rPr>
              <a:t>Levantamento </a:t>
            </a:r>
            <a:r>
              <a:rPr lang="pt-BR" sz="1200" dirty="0">
                <a:solidFill>
                  <a:srgbClr val="00A596"/>
                </a:solidFill>
                <a:latin typeface="Simplon BP Regular" pitchFamily="2" charset="0"/>
              </a:rPr>
              <a:t>das regras atuais existentes no AF legado e elaboração de </a:t>
            </a:r>
            <a:r>
              <a:rPr lang="pt-BR" sz="1200" dirty="0" err="1" smtClean="0">
                <a:solidFill>
                  <a:srgbClr val="00A596"/>
                </a:solidFill>
                <a:latin typeface="Simplon BP Regular" pitchFamily="2" charset="0"/>
              </a:rPr>
              <a:t>blueprint</a:t>
            </a:r>
            <a:r>
              <a:rPr lang="pt-BR" sz="1200" dirty="0" smtClean="0">
                <a:solidFill>
                  <a:srgbClr val="00A596"/>
                </a:solidFill>
                <a:latin typeface="Simplon BP Regular" pitchFamily="2" charset="0"/>
              </a:rPr>
              <a:t> iniciado pela WEDO em BH.</a:t>
            </a:r>
          </a:p>
          <a:p>
            <a:r>
              <a:rPr lang="pt-BR" sz="1200" dirty="0" smtClean="0">
                <a:solidFill>
                  <a:srgbClr val="00A596"/>
                </a:solidFill>
                <a:latin typeface="Simplon BP Regular" pitchFamily="2" charset="0"/>
              </a:rPr>
              <a:t>+ Aquisição de HW DEV/HML depende de priorização junto à diretoria de infra. Contingência: Uso HML do RAID-UC p/ DEV.</a:t>
            </a:r>
          </a:p>
          <a:p>
            <a:r>
              <a:rPr lang="pt-BR" sz="1200" dirty="0" smtClean="0">
                <a:solidFill>
                  <a:srgbClr val="00A596"/>
                </a:solidFill>
                <a:latin typeface="Simplon BP Regular" pitchFamily="2" charset="0"/>
              </a:rPr>
              <a:t>+ realizado alinhamento junto a relacionamento quanto a criação e priorização de PRJ por ondas</a:t>
            </a:r>
            <a:endParaRPr lang="pt-BR" sz="1200" dirty="0">
              <a:solidFill>
                <a:srgbClr val="00A596"/>
              </a:solidFill>
              <a:latin typeface="Simplon BP Regular" pitchFamily="2" charset="0"/>
            </a:endParaRPr>
          </a:p>
        </p:txBody>
      </p:sp>
      <p:cxnSp>
        <p:nvCxnSpPr>
          <p:cNvPr id="78" name="Straight Connector 424"/>
          <p:cNvCxnSpPr/>
          <p:nvPr/>
        </p:nvCxnSpPr>
        <p:spPr>
          <a:xfrm flipV="1">
            <a:off x="4447896" y="4268638"/>
            <a:ext cx="0" cy="166884"/>
          </a:xfrm>
          <a:prstGeom prst="line">
            <a:avLst/>
          </a:prstGeom>
          <a:noFill/>
          <a:ln w="12700" cap="flat" cmpd="sng" algn="ctr">
            <a:solidFill>
              <a:srgbClr val="16A085"/>
            </a:solidFill>
            <a:prstDash val="sysDash"/>
            <a:miter lim="800000"/>
            <a:headEnd type="oval"/>
          </a:ln>
          <a:effectLst/>
        </p:spPr>
      </p:cxnSp>
      <p:sp>
        <p:nvSpPr>
          <p:cNvPr id="79" name="TextBox 431"/>
          <p:cNvSpPr txBox="1"/>
          <p:nvPr/>
        </p:nvSpPr>
        <p:spPr>
          <a:xfrm>
            <a:off x="6277480" y="4555472"/>
            <a:ext cx="3146552" cy="1754326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FF0000"/>
                </a:solidFill>
                <a:latin typeface="Calibri"/>
              </a:defRPr>
            </a:lvl1pPr>
          </a:lstStyle>
          <a:p>
            <a:r>
              <a:rPr lang="pt-BR" sz="1200" dirty="0" smtClean="0">
                <a:solidFill>
                  <a:schemeClr val="accent6">
                    <a:lumMod val="75000"/>
                  </a:schemeClr>
                </a:solidFill>
                <a:latin typeface="Simplon BP Regular" pitchFamily="2" charset="0"/>
              </a:rPr>
              <a:t>+ Abertura </a:t>
            </a:r>
            <a:r>
              <a:rPr lang="pt-BR" sz="1200" dirty="0" smtClean="0">
                <a:solidFill>
                  <a:schemeClr val="accent6">
                    <a:lumMod val="75000"/>
                  </a:schemeClr>
                </a:solidFill>
                <a:latin typeface="Simplon BP Regular" pitchFamily="2" charset="0"/>
              </a:rPr>
              <a:t>de PRJ no </a:t>
            </a:r>
            <a:r>
              <a:rPr lang="pt-BR" sz="1200" dirty="0" err="1" smtClean="0">
                <a:solidFill>
                  <a:schemeClr val="accent6">
                    <a:lumMod val="75000"/>
                  </a:schemeClr>
                </a:solidFill>
                <a:latin typeface="Simplon BP Regular" pitchFamily="2" charset="0"/>
              </a:rPr>
              <a:t>clarity</a:t>
            </a:r>
            <a:r>
              <a:rPr lang="pt-BR" sz="1200" dirty="0" smtClean="0">
                <a:solidFill>
                  <a:schemeClr val="accent6">
                    <a:lumMod val="75000"/>
                  </a:schemeClr>
                </a:solidFill>
                <a:latin typeface="Simplon BP Regular" pitchFamily="2" charset="0"/>
              </a:rPr>
              <a:t> e Inicio da etapa de DSOL das ondas 2 e 3 </a:t>
            </a:r>
            <a:r>
              <a:rPr lang="pt-BR" sz="1200" dirty="0" smtClean="0">
                <a:solidFill>
                  <a:schemeClr val="accent6">
                    <a:lumMod val="75000"/>
                  </a:schemeClr>
                </a:solidFill>
                <a:latin typeface="Simplon BP Regular" pitchFamily="2" charset="0"/>
              </a:rPr>
              <a:t>(Motor de regras, TV off e </a:t>
            </a:r>
            <a:r>
              <a:rPr lang="pt-BR" sz="1200" dirty="0" smtClean="0">
                <a:solidFill>
                  <a:schemeClr val="accent6">
                    <a:lumMod val="75000"/>
                  </a:schemeClr>
                </a:solidFill>
                <a:latin typeface="Simplon BP Regular" pitchFamily="2" charset="0"/>
              </a:rPr>
              <a:t>Oi Total 2P</a:t>
            </a:r>
            <a:r>
              <a:rPr lang="pt-BR" sz="1200" dirty="0" smtClean="0">
                <a:solidFill>
                  <a:schemeClr val="accent6">
                    <a:lumMod val="75000"/>
                  </a:schemeClr>
                </a:solidFill>
                <a:latin typeface="Simplon BP Regular" pitchFamily="2" charset="0"/>
              </a:rPr>
              <a:t>), com assunção de premissas e riscos. (slide 6)</a:t>
            </a:r>
            <a:endParaRPr lang="pt-BR" sz="1200" dirty="0" smtClean="0">
              <a:solidFill>
                <a:schemeClr val="accent6">
                  <a:lumMod val="75000"/>
                </a:schemeClr>
              </a:solidFill>
              <a:latin typeface="Simplon BP Regular" pitchFamily="2" charset="0"/>
            </a:endParaRPr>
          </a:p>
          <a:p>
            <a:r>
              <a:rPr lang="pt-BR" sz="1200" dirty="0" smtClean="0">
                <a:solidFill>
                  <a:schemeClr val="accent6">
                    <a:lumMod val="75000"/>
                  </a:schemeClr>
                </a:solidFill>
                <a:latin typeface="Simplon BP Regular" pitchFamily="2" charset="0"/>
              </a:rPr>
              <a:t>+  Inicio previsto das atividade de DSOL em 25/10 em BH com o usuário.</a:t>
            </a:r>
          </a:p>
          <a:p>
            <a:r>
              <a:rPr lang="pt-BR" sz="1200" dirty="0">
                <a:solidFill>
                  <a:schemeClr val="accent6">
                    <a:lumMod val="75000"/>
                  </a:schemeClr>
                </a:solidFill>
                <a:latin typeface="Simplon BP Regular" pitchFamily="2" charset="0"/>
              </a:rPr>
              <a:t>+ Liberação de ambientes HML para instalação de framework </a:t>
            </a:r>
            <a:r>
              <a:rPr lang="pt-BR" sz="1200" dirty="0" err="1">
                <a:solidFill>
                  <a:schemeClr val="accent6">
                    <a:lumMod val="75000"/>
                  </a:schemeClr>
                </a:solidFill>
                <a:latin typeface="Simplon BP Regular" pitchFamily="2" charset="0"/>
              </a:rPr>
              <a:t>vanila</a:t>
            </a:r>
            <a:r>
              <a:rPr lang="pt-BR" sz="1200" dirty="0">
                <a:solidFill>
                  <a:schemeClr val="accent6">
                    <a:lumMod val="75000"/>
                  </a:schemeClr>
                </a:solidFill>
                <a:latin typeface="Simplon BP Regular" pitchFamily="2" charset="0"/>
              </a:rPr>
              <a:t> RAID-FMS e gestão de acessos em 25/10.</a:t>
            </a:r>
            <a:endParaRPr lang="id-ID" sz="1200" dirty="0">
              <a:solidFill>
                <a:schemeClr val="accent6">
                  <a:lumMod val="75000"/>
                </a:schemeClr>
              </a:solidFill>
              <a:latin typeface="Simplon BP Regular" pitchFamily="2" charset="0"/>
            </a:endParaRPr>
          </a:p>
        </p:txBody>
      </p:sp>
      <p:sp>
        <p:nvSpPr>
          <p:cNvPr id="85" name="TextBox 468"/>
          <p:cNvSpPr txBox="1"/>
          <p:nvPr/>
        </p:nvSpPr>
        <p:spPr>
          <a:xfrm>
            <a:off x="8993430" y="2309059"/>
            <a:ext cx="268677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pt-BR" sz="1400" dirty="0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INICIO DESENVOLVIMENTO ONDAS 2 E 3</a:t>
            </a:r>
          </a:p>
          <a:p>
            <a:pPr marL="285750" indent="-285750">
              <a:buFontTx/>
              <a:buChar char="-"/>
            </a:pPr>
            <a:r>
              <a:rPr lang="pt-BR" sz="1400" dirty="0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ELABORAÇÃO DESENHO DE SOLUÇÃO ONDA 4 (TV ONLINE)</a:t>
            </a:r>
            <a:endParaRPr lang="id-ID" sz="1400" dirty="0">
              <a:solidFill>
                <a:schemeClr val="accent2">
                  <a:lumMod val="75000"/>
                </a:schemeClr>
              </a:solidFill>
              <a:latin typeface="Simplon BP Regular" pitchFamily="2" charset="0"/>
            </a:endParaRPr>
          </a:p>
        </p:txBody>
      </p:sp>
      <p:sp>
        <p:nvSpPr>
          <p:cNvPr id="42" name="TextBox 377"/>
          <p:cNvSpPr txBox="1"/>
          <p:nvPr/>
        </p:nvSpPr>
        <p:spPr>
          <a:xfrm>
            <a:off x="418947" y="1785970"/>
            <a:ext cx="282047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00A596"/>
                </a:solidFill>
                <a:latin typeface="Calibri"/>
              </a:defRPr>
            </a:lvl1pPr>
          </a:lstStyle>
          <a:p>
            <a:pPr algn="ctr"/>
            <a:r>
              <a:rPr lang="pt-BR" dirty="0" smtClean="0">
                <a:solidFill>
                  <a:srgbClr val="002060"/>
                </a:solidFill>
                <a:latin typeface="Simplon BP Regular" pitchFamily="2" charset="0"/>
              </a:rPr>
              <a:t>FASE:  WARM-UP FASE 0</a:t>
            </a:r>
            <a:endParaRPr lang="id-ID" sz="1050" dirty="0">
              <a:solidFill>
                <a:srgbClr val="002060"/>
              </a:solidFill>
              <a:latin typeface="Simplon BP Regular" pitchFamily="2" charset="0"/>
            </a:endParaRPr>
          </a:p>
        </p:txBody>
      </p:sp>
      <p:sp>
        <p:nvSpPr>
          <p:cNvPr id="43" name="TextBox 431"/>
          <p:cNvSpPr txBox="1"/>
          <p:nvPr/>
        </p:nvSpPr>
        <p:spPr>
          <a:xfrm>
            <a:off x="5949927" y="2309059"/>
            <a:ext cx="299256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pt-BR" sz="1400" dirty="0" smtClean="0">
                <a:solidFill>
                  <a:srgbClr val="00A596"/>
                </a:solidFill>
                <a:latin typeface="Simplon BP Regular" pitchFamily="2" charset="0"/>
              </a:rPr>
              <a:t>ELABORAÇÃO E APROVAÇÃO DESENHO </a:t>
            </a:r>
            <a:r>
              <a:rPr lang="pt-BR" sz="1400" dirty="0">
                <a:solidFill>
                  <a:srgbClr val="00A596"/>
                </a:solidFill>
                <a:latin typeface="Simplon BP Regular" pitchFamily="2" charset="0"/>
              </a:rPr>
              <a:t>SOLUÇÃO </a:t>
            </a:r>
            <a:r>
              <a:rPr lang="pt-BR" sz="1400" dirty="0" smtClean="0">
                <a:solidFill>
                  <a:srgbClr val="00A596"/>
                </a:solidFill>
                <a:latin typeface="Simplon BP Regular" pitchFamily="2" charset="0"/>
              </a:rPr>
              <a:t>ONDAS 2 E 3 (OFFLINE)</a:t>
            </a:r>
          </a:p>
          <a:p>
            <a:pPr marL="285750" indent="-285750">
              <a:buFontTx/>
              <a:buChar char="-"/>
            </a:pPr>
            <a:r>
              <a:rPr lang="pt-BR" sz="1400" dirty="0" smtClean="0">
                <a:solidFill>
                  <a:srgbClr val="00A596"/>
                </a:solidFill>
                <a:latin typeface="Simplon BP Regular" pitchFamily="2" charset="0"/>
              </a:rPr>
              <a:t>INSTALAÇÃO FRAMEWORK VANILA</a:t>
            </a:r>
          </a:p>
        </p:txBody>
      </p:sp>
      <p:sp>
        <p:nvSpPr>
          <p:cNvPr id="45" name="TextBox 468"/>
          <p:cNvSpPr txBox="1"/>
          <p:nvPr/>
        </p:nvSpPr>
        <p:spPr>
          <a:xfrm>
            <a:off x="9075765" y="1784103"/>
            <a:ext cx="27709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INICIO PROGRAMA 1 (PREVENÇÃO)</a:t>
            </a:r>
            <a:endParaRPr lang="id-ID" sz="1400" dirty="0">
              <a:solidFill>
                <a:schemeClr val="accent2">
                  <a:lumMod val="75000"/>
                </a:schemeClr>
              </a:solidFill>
              <a:latin typeface="Simplon BP Regular" pitchFamily="2" charset="0"/>
            </a:endParaRPr>
          </a:p>
        </p:txBody>
      </p:sp>
      <p:sp>
        <p:nvSpPr>
          <p:cNvPr id="51" name="TextBox 431"/>
          <p:cNvSpPr txBox="1"/>
          <p:nvPr/>
        </p:nvSpPr>
        <p:spPr>
          <a:xfrm>
            <a:off x="9519568" y="4771428"/>
            <a:ext cx="2545055" cy="2123658"/>
          </a:xfrm>
          <a:prstGeom prst="rect">
            <a:avLst/>
          </a:prstGeom>
          <a:noFill/>
          <a:ln>
            <a:solidFill>
              <a:srgbClr val="FFA800"/>
            </a:soli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FF0000"/>
                </a:solidFill>
                <a:latin typeface="Calibri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Construção de </a:t>
            </a:r>
            <a:r>
              <a:rPr lang="pt-BR" sz="1200" dirty="0" err="1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streams</a:t>
            </a:r>
            <a:r>
              <a:rPr lang="pt-BR" sz="1200" dirty="0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 SIAF, SAC e SINN e desenvolvimento de regras para prevenção a fraudes off-line em DEV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 Abertura de PRJ no </a:t>
            </a:r>
            <a:r>
              <a:rPr lang="pt-BR" sz="1200" dirty="0" err="1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clarity</a:t>
            </a:r>
            <a:r>
              <a:rPr lang="pt-BR" sz="1200" dirty="0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 e inicio da etapa de DSOL da onda 4 </a:t>
            </a:r>
            <a:r>
              <a:rPr lang="pt-BR" sz="1200" dirty="0" err="1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OiTotal</a:t>
            </a:r>
            <a:r>
              <a:rPr lang="pt-BR" sz="1200" dirty="0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 3P (análise de crédito </a:t>
            </a:r>
            <a:r>
              <a:rPr lang="pt-BR" sz="1200" dirty="0" err="1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Transact</a:t>
            </a:r>
            <a:r>
              <a:rPr lang="pt-BR" sz="1200" dirty="0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 e Score externo </a:t>
            </a:r>
            <a:r>
              <a:rPr lang="pt-BR" sz="1200" dirty="0" err="1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ClearSale</a:t>
            </a:r>
            <a:r>
              <a:rPr lang="pt-BR" sz="1200" dirty="0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)</a:t>
            </a:r>
          </a:p>
          <a:p>
            <a:r>
              <a:rPr lang="pt-BR" sz="1200" dirty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+ Expectativa de ambiente PRD em 23/11.</a:t>
            </a:r>
            <a:endParaRPr lang="id-ID" sz="1200" dirty="0">
              <a:solidFill>
                <a:schemeClr val="accent2">
                  <a:lumMod val="75000"/>
                </a:schemeClr>
              </a:solidFill>
              <a:latin typeface="Simplon BP Regular" pitchFamily="2" charset="0"/>
            </a:endParaRPr>
          </a:p>
        </p:txBody>
      </p:sp>
      <p:sp>
        <p:nvSpPr>
          <p:cNvPr id="11" name="Estrela de 6 Pontas 10"/>
          <p:cNvSpPr/>
          <p:nvPr/>
        </p:nvSpPr>
        <p:spPr>
          <a:xfrm>
            <a:off x="11628581" y="3618037"/>
            <a:ext cx="218118" cy="377104"/>
          </a:xfrm>
          <a:prstGeom prst="star6">
            <a:avLst/>
          </a:prstGeom>
          <a:solidFill>
            <a:srgbClr val="FFFF00"/>
          </a:solidFill>
          <a:ln w="2540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CaixaDeTexto 11"/>
          <p:cNvSpPr txBox="1"/>
          <p:nvPr/>
        </p:nvSpPr>
        <p:spPr>
          <a:xfrm>
            <a:off x="5751899" y="711832"/>
            <a:ext cx="6471643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latin typeface="Simplon BP Regular" pitchFamily="2" charset="0"/>
              </a:rPr>
              <a:t>Este macro cronograma contém datas previstas que podem sofrer alteraçõ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latin typeface="Simplon BP Regular" pitchFamily="2" charset="0"/>
              </a:rPr>
              <a:t>Ao longo do andamento os </a:t>
            </a:r>
            <a:r>
              <a:rPr lang="pt-BR" sz="1400" dirty="0" err="1" smtClean="0">
                <a:latin typeface="Simplon BP Regular" pitchFamily="2" charset="0"/>
              </a:rPr>
              <a:t>reports</a:t>
            </a:r>
            <a:r>
              <a:rPr lang="pt-BR" sz="1400" dirty="0" smtClean="0">
                <a:latin typeface="Simplon BP Regular" pitchFamily="2" charset="0"/>
              </a:rPr>
              <a:t> serão feitos ajustando o que for necessár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latin typeface="Simplon BP Regular" pitchFamily="2" charset="0"/>
              </a:rPr>
              <a:t>Somente teremos cronograma após etapa de Aprovação Financeira por Onda.</a:t>
            </a:r>
            <a:endParaRPr lang="pt-BR" sz="1400" dirty="0">
              <a:latin typeface="Simplon BP Regular" pitchFamily="2" charset="0"/>
            </a:endParaRPr>
          </a:p>
        </p:txBody>
      </p:sp>
      <p:sp>
        <p:nvSpPr>
          <p:cNvPr id="54" name="Estrela de 6 Pontas 53"/>
          <p:cNvSpPr/>
          <p:nvPr/>
        </p:nvSpPr>
        <p:spPr>
          <a:xfrm>
            <a:off x="11892438" y="6485354"/>
            <a:ext cx="218118" cy="322076"/>
          </a:xfrm>
          <a:prstGeom prst="star6">
            <a:avLst/>
          </a:prstGeom>
          <a:solidFill>
            <a:srgbClr val="FFFF00"/>
          </a:solidFill>
          <a:ln w="2540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38808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a 1"/>
          <p:cNvGraphicFramePr/>
          <p:nvPr>
            <p:extLst>
              <p:ext uri="{D42A27DB-BD31-4B8C-83A1-F6EECF244321}">
                <p14:modId xmlns:p14="http://schemas.microsoft.com/office/powerpoint/2010/main" val="1507467470"/>
              </p:ext>
            </p:extLst>
          </p:nvPr>
        </p:nvGraphicFramePr>
        <p:xfrm>
          <a:off x="251579" y="-194733"/>
          <a:ext cx="11940421" cy="54924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452419384"/>
              </p:ext>
            </p:extLst>
          </p:nvPr>
        </p:nvGraphicFramePr>
        <p:xfrm>
          <a:off x="212874" y="5263847"/>
          <a:ext cx="11688394" cy="6192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9" name="Title 2"/>
          <p:cNvSpPr txBox="1">
            <a:spLocks/>
          </p:cNvSpPr>
          <p:nvPr/>
        </p:nvSpPr>
        <p:spPr>
          <a:xfrm>
            <a:off x="203200" y="5923491"/>
            <a:ext cx="10972800" cy="886884"/>
          </a:xfrm>
          <a:prstGeom prst="rect">
            <a:avLst/>
          </a:prstGeom>
          <a:noFill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pt-BR" sz="4200" b="0" i="0" kern="1200" noProof="0">
                <a:solidFill>
                  <a:srgbClr val="00CEFF"/>
                </a:solidFill>
                <a:latin typeface="Simplon Oi Headline"/>
                <a:ea typeface="ＭＳ Ｐゴシック" charset="0"/>
                <a:cs typeface="Simplon Oi Headline"/>
              </a:defRPr>
            </a:lvl1pPr>
          </a:lstStyle>
          <a:p>
            <a:pPr>
              <a:defRPr/>
            </a:pPr>
            <a:r>
              <a:rPr lang="en-US" sz="5600" dirty="0"/>
              <a:t>Roadmap raid-</a:t>
            </a:r>
            <a:r>
              <a:rPr lang="en-US" sz="5600" dirty="0" err="1"/>
              <a:t>fms</a:t>
            </a:r>
            <a:r>
              <a:rPr lang="en-US" sz="5600" dirty="0"/>
              <a:t> (draft </a:t>
            </a:r>
            <a:r>
              <a:rPr lang="en-US" sz="5600" dirty="0" smtClean="0"/>
              <a:t>3)</a:t>
            </a:r>
            <a:endParaRPr lang="en-US" sz="5600" dirty="0"/>
          </a:p>
        </p:txBody>
      </p:sp>
    </p:spTree>
    <p:extLst>
      <p:ext uri="{BB962C8B-B14F-4D97-AF65-F5344CB8AC3E}">
        <p14:creationId xmlns:p14="http://schemas.microsoft.com/office/powerpoint/2010/main" val="39529564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to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22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22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21928" y="-47621"/>
            <a:ext cx="11905323" cy="800760"/>
          </a:xfrm>
        </p:spPr>
        <p:txBody>
          <a:bodyPr>
            <a:normAutofit fontScale="90000"/>
          </a:bodyPr>
          <a:lstStyle/>
          <a:p>
            <a:pPr>
              <a:lnSpc>
                <a:spcPts val="5600"/>
              </a:lnSpc>
              <a:spcBef>
                <a:spcPts val="0"/>
              </a:spcBef>
            </a:pPr>
            <a:r>
              <a:rPr lang="pt-BR" sz="2400" dirty="0" smtClean="0">
                <a:solidFill>
                  <a:srgbClr val="A02BFF"/>
                </a:solidFill>
                <a:latin typeface="Simplon Oi Headline"/>
                <a:cs typeface="Simplon Oi Headline"/>
              </a:rPr>
              <a:t>PREMISSAS e RISCOS MAPEADOS – Projeto novo Antifraude [</a:t>
            </a:r>
            <a:r>
              <a:rPr lang="pt-BR" sz="2400" dirty="0" err="1" smtClean="0">
                <a:solidFill>
                  <a:srgbClr val="A02BFF"/>
                </a:solidFill>
                <a:latin typeface="Simplon Oi Headline"/>
                <a:cs typeface="Simplon Oi Headline"/>
              </a:rPr>
              <a:t>green</a:t>
            </a:r>
            <a:r>
              <a:rPr lang="pt-BR" sz="2400" dirty="0" smtClean="0">
                <a:solidFill>
                  <a:srgbClr val="A02BFF"/>
                </a:solidFill>
                <a:latin typeface="Simplon Oi Headline"/>
                <a:cs typeface="Simplon Oi Headline"/>
              </a:rPr>
              <a:t> </a:t>
            </a:r>
            <a:r>
              <a:rPr lang="pt-BR" sz="2400" dirty="0" err="1" smtClean="0">
                <a:solidFill>
                  <a:srgbClr val="A02BFF"/>
                </a:solidFill>
                <a:latin typeface="Simplon Oi Headline"/>
                <a:cs typeface="Simplon Oi Headline"/>
              </a:rPr>
              <a:t>field</a:t>
            </a:r>
            <a:r>
              <a:rPr lang="pt-BR" sz="2400" dirty="0" smtClean="0">
                <a:solidFill>
                  <a:srgbClr val="A02BFF"/>
                </a:solidFill>
                <a:latin typeface="Simplon Oi Headline"/>
                <a:cs typeface="Simplon Oi Headline"/>
              </a:rPr>
              <a:t>]</a:t>
            </a:r>
            <a:endParaRPr lang="pt-BR" sz="2400" dirty="0">
              <a:solidFill>
                <a:srgbClr val="A02BFF"/>
              </a:solidFill>
              <a:latin typeface="Simplon Oi Headline"/>
              <a:cs typeface="Simplon Oi Headline"/>
            </a:endParaRPr>
          </a:p>
        </p:txBody>
      </p:sp>
      <p:sp>
        <p:nvSpPr>
          <p:cNvPr id="12" name="Retângulo de cantos arredondados 11"/>
          <p:cNvSpPr/>
          <p:nvPr/>
        </p:nvSpPr>
        <p:spPr>
          <a:xfrm>
            <a:off x="240757" y="205323"/>
            <a:ext cx="11951243" cy="6157377"/>
          </a:xfrm>
          <a:prstGeom prst="roundRect">
            <a:avLst>
              <a:gd name="adj" fmla="val 3147"/>
            </a:avLst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6000" tIns="48000" rIns="48000" bIns="4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067"/>
              </a:spcBef>
            </a:pPr>
            <a:r>
              <a:rPr lang="pt-BR" sz="1867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Premissas gerais e cronograma: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Prioridade adequada frente aos demais projetos da companhia.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Planejamento de ondas feito de forma sequencial com </a:t>
            </a:r>
            <a:r>
              <a:rPr lang="pt-BR" sz="1200" dirty="0" err="1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interdependecias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, com paralelismo de atividades Oi e WEDO, 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gerando concorrência na alocação dos recursos e possíveis atrasos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. </a:t>
            </a:r>
            <a:endParaRPr lang="pt-BR" sz="1200" dirty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Consultoria externa de </a:t>
            </a:r>
            <a:r>
              <a:rPr lang="pt-BR" sz="1200" dirty="0" err="1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scoping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 processo de vendas (auditoria de qualidade de vendas], mercado. (alinhado com HUGO e Ana Teresa o planejamento de realizar processo de revisão em 45 dias do processo de vendas mapeando as maiores oportunidades. Inicio em 02/10.) Desenho de processos “as </a:t>
            </a:r>
            <a:r>
              <a:rPr lang="pt-BR" sz="1200" dirty="0" err="1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is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” e “</a:t>
            </a:r>
            <a:r>
              <a:rPr lang="pt-BR" sz="1200" dirty="0" err="1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to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 </a:t>
            </a:r>
            <a:r>
              <a:rPr lang="pt-BR" sz="1200" dirty="0" err="1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be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” do processo de vendas para identificar oportunidades de atuação da fraude. Previsão de inicio em 02/10 com 45 dias de duração. Resultado do trabalho pode ser usado como insumo das regras da onda 3 junto ao </a:t>
            </a:r>
            <a:r>
              <a:rPr lang="pt-BR" sz="1200" dirty="0" err="1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transact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.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Confirmar premissa de que Ondas 11 e 12 [Fixo R2] serão descontinuadas frente aos projetos Unifica e Upgrade do </a:t>
            </a:r>
            <a:r>
              <a:rPr lang="pt-BR" sz="1200" dirty="0" err="1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Transact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. Alinhamento com GP dos respectivos projetos.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Trafego LDI e ROAMING será utilizado o NRT disponibilizado pela ASGA e CONFONE e não pela mediação. (premissa em validação com a mediação pelo time do projeto)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Instalação do RAID-FMS será conduzida de forma coordenada junto ao time de SI, minimizando a necessidade de termo de risco.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Design de regras e telas pelo BPO para o programa 2 deve ser contratado durante o programa 1 para subsidiar a construção de motores de alarmes, casos, regras e telas diversas para tratamento e consulta. Para garantir que os extratores e integrações previstas no programa 1, irão atender ao programa 2. (CRM) Resp. Cezar Orçamento 2018.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Alinhamento executivo em TI para janelas de entregas do FMS em produção em janelas </a:t>
            </a:r>
            <a:r>
              <a:rPr lang="pt-BR" sz="1200" dirty="0" err="1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flexiveis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. (ondas com impacto apenas no RAID-FMS)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Planejamento diário das etapas de análise e DSOL para acompanhamento diário da evolução ágil do time. (uso de praticas </a:t>
            </a:r>
            <a:r>
              <a:rPr lang="pt-BR" sz="1200" dirty="0" err="1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agile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 Sprint/reunião diária)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Detalhamento de regras de negócio e critérios de aceitação será feito para cada onda, previamente ao inicio da etapa de análise e desenho de solução.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Projeto novo antifraude deverá ser </a:t>
            </a:r>
            <a:r>
              <a:rPr lang="pt-BR" sz="1200" dirty="0" err="1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cross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 com o Projeto do Novo Front </a:t>
            </a:r>
            <a:r>
              <a:rPr lang="pt-BR" sz="1200" dirty="0" err="1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End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 de vendas (PRJ00023734) e Upgrade </a:t>
            </a:r>
            <a:r>
              <a:rPr lang="pt-BR" sz="1200" dirty="0" err="1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Transact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, Upgrade ICS.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Definição de governança  de gestão de acessos junto ao time de SI para definição privilégios para TI, fábrica, usuário antifraude Oi e BPO Accenture.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Virada 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efetiva do ambiente de produção do RAID-FMS para o time de operações apenas após as 7.1 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 e 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7.2. 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 Até lá o acompanhamento do RAID-FMS deverá ser feito pelo time do projeto.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Documentação 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do Projeto será simplificada SD/CA, DSOL. 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Planos de teste seguirão do </a:t>
            </a:r>
            <a:r>
              <a:rPr lang="pt-BR" sz="1200" dirty="0" err="1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template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 WEDO [fora alm11] até a onda 7.1, ET pode seguir no padrão de documentação 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WEDO.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Criação 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de extratores DW sem definição de necessidade de informações no momento de planejamento do Projeto. 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Sendo necessária abertura de subprojeto para criação dos extratores do DW antes da etapa de DSOL da onda 3 para especificação de cargas. 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Regras usando os dados de DW serão detalhadas para a onda 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4/5/6.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Chamada 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de webservice m4u 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(oi controle sem fatura)deve 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considerar 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+100mil 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chamadas/mês. SLA de resposta do FMS deverá levar em conta 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latência 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da </a:t>
            </a:r>
            <a:r>
              <a:rPr lang="pt-BR" sz="1200" dirty="0" err="1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clearsale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. 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Necessária definição de regras, definição do webservice (campos e </a:t>
            </a:r>
            <a:r>
              <a:rPr lang="pt-BR" sz="1200" dirty="0" err="1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etc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). </a:t>
            </a:r>
            <a:endParaRPr lang="pt-BR" sz="1200" dirty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Deverá ser definido qual o score externo será usado na Onda 3. </a:t>
            </a:r>
            <a:r>
              <a:rPr lang="pt-BR" sz="1200" dirty="0" err="1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Clearsale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 ou SERASA (contratação por ti/usuário?)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Serão revisados os SLA de tempo resposta de chamada online ao </a:t>
            </a:r>
            <a:r>
              <a:rPr lang="pt-BR" sz="1200" dirty="0" err="1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transact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 pelo RAID-FMS;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Utilização do arquivo de </a:t>
            </a:r>
            <a:r>
              <a:rPr lang="pt-BR" sz="1200" dirty="0" err="1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Chargeback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 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Oi 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Controle na Onda 10 Oi controle sem fatura 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(CPF, TERMINAL, *TELEFONE DE CONTATO e DATA) para criação de regra de risco de fraude referente a clientes que pedem estorno de cobrança no cartão de 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credito.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Será aberto PRJ especifico para o SIEBEL/BARRAMENTO referente ao tema de troca de chip.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rgbClr val="FF0000"/>
                </a:solidFill>
                <a:latin typeface="Simplon BP Medium" pitchFamily="2" charset="0"/>
              </a:rPr>
              <a:t>Para maio eficiência da ferramenta é essencial revisão do processo de vendas</a:t>
            </a:r>
            <a:r>
              <a:rPr lang="pt-BR" sz="1200" dirty="0">
                <a:solidFill>
                  <a:srgbClr val="FF0000"/>
                </a:solidFill>
                <a:latin typeface="Simplon BP Medium" pitchFamily="2" charset="0"/>
              </a:rPr>
              <a:t>, crédito e instalação  da Oi [fixo, </a:t>
            </a:r>
            <a:r>
              <a:rPr lang="pt-BR" sz="1200" dirty="0" err="1">
                <a:solidFill>
                  <a:srgbClr val="FF0000"/>
                </a:solidFill>
                <a:latin typeface="Simplon BP Medium" pitchFamily="2" charset="0"/>
              </a:rPr>
              <a:t>tv</a:t>
            </a:r>
            <a:r>
              <a:rPr lang="pt-BR" sz="1200" dirty="0">
                <a:solidFill>
                  <a:srgbClr val="FF0000"/>
                </a:solidFill>
                <a:latin typeface="Simplon BP Medium" pitchFamily="2" charset="0"/>
              </a:rPr>
              <a:t>, oi total e </a:t>
            </a:r>
            <a:r>
              <a:rPr lang="pt-BR" sz="1200" dirty="0" err="1">
                <a:solidFill>
                  <a:srgbClr val="FF0000"/>
                </a:solidFill>
                <a:latin typeface="Simplon BP Medium" pitchFamily="2" charset="0"/>
              </a:rPr>
              <a:t>etc</a:t>
            </a:r>
            <a:r>
              <a:rPr lang="pt-BR" sz="1200" dirty="0">
                <a:solidFill>
                  <a:srgbClr val="FF0000"/>
                </a:solidFill>
                <a:latin typeface="Simplon BP Medium" pitchFamily="2" charset="0"/>
              </a:rPr>
              <a:t>] </a:t>
            </a:r>
            <a:r>
              <a:rPr lang="pt-BR" sz="1200" dirty="0" smtClean="0">
                <a:solidFill>
                  <a:srgbClr val="FF0000"/>
                </a:solidFill>
                <a:latin typeface="Simplon BP Medium" pitchFamily="2" charset="0"/>
              </a:rPr>
              <a:t>e engajamento </a:t>
            </a:r>
            <a:r>
              <a:rPr lang="pt-BR" sz="1200" dirty="0">
                <a:solidFill>
                  <a:srgbClr val="FF0000"/>
                </a:solidFill>
                <a:latin typeface="Simplon BP Medium" pitchFamily="2" charset="0"/>
              </a:rPr>
              <a:t>das gerencias relacionadas em tempo de especificação</a:t>
            </a:r>
            <a:r>
              <a:rPr lang="pt-BR" sz="1200" dirty="0" smtClean="0">
                <a:solidFill>
                  <a:srgbClr val="FF0000"/>
                </a:solidFill>
                <a:latin typeface="Simplon BP Medium" pitchFamily="2" charset="0"/>
              </a:rPr>
              <a:t>. Para garantir maior qualidade nos dados cadastrais na proposta no momento da venda.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endParaRPr lang="pt-BR" sz="1200" dirty="0">
              <a:solidFill>
                <a:srgbClr val="FF0000"/>
              </a:solidFill>
              <a:latin typeface="Simplon BP Medium" pitchFamily="2" charset="0"/>
            </a:endParaRPr>
          </a:p>
          <a:p>
            <a:pPr marL="171450" indent="-171450">
              <a:spcBef>
                <a:spcPts val="1067"/>
              </a:spcBef>
              <a:buFontTx/>
              <a:buChar char="-"/>
            </a:pPr>
            <a:endParaRPr lang="pt-BR" sz="1200" dirty="0" smtClean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  <a:p>
            <a:pPr marL="171450" indent="-171450">
              <a:spcBef>
                <a:spcPts val="1067"/>
              </a:spcBef>
              <a:buFontTx/>
              <a:buChar char="-"/>
            </a:pPr>
            <a:endParaRPr lang="pt-BR" sz="1200" dirty="0" smtClean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  <a:p>
            <a:pPr lvl="1">
              <a:spcBef>
                <a:spcPts val="1067"/>
              </a:spcBef>
            </a:pPr>
            <a:endParaRPr lang="pt-BR" sz="1867" dirty="0" smtClean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  <a:p>
            <a:pPr marL="171450" indent="-171450">
              <a:spcBef>
                <a:spcPts val="1067"/>
              </a:spcBef>
              <a:buFontTx/>
              <a:buChar char="-"/>
            </a:pPr>
            <a:endParaRPr lang="pt-BR" sz="1200" dirty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0201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to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22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22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21928" y="-47621"/>
            <a:ext cx="11905323" cy="800760"/>
          </a:xfrm>
        </p:spPr>
        <p:txBody>
          <a:bodyPr>
            <a:normAutofit fontScale="90000"/>
          </a:bodyPr>
          <a:lstStyle/>
          <a:p>
            <a:pPr>
              <a:lnSpc>
                <a:spcPts val="5600"/>
              </a:lnSpc>
              <a:spcBef>
                <a:spcPts val="0"/>
              </a:spcBef>
            </a:pPr>
            <a:r>
              <a:rPr lang="pt-BR" sz="2400" dirty="0" smtClean="0">
                <a:solidFill>
                  <a:srgbClr val="A02BFF"/>
                </a:solidFill>
                <a:latin typeface="Simplon Oi Headline"/>
                <a:cs typeface="Simplon Oi Headline"/>
              </a:rPr>
              <a:t>PREMISSAS e RISCOS MAPEADOS – Projeto novo Antifraude [</a:t>
            </a:r>
            <a:r>
              <a:rPr lang="pt-BR" sz="2400" dirty="0" err="1" smtClean="0">
                <a:solidFill>
                  <a:srgbClr val="A02BFF"/>
                </a:solidFill>
                <a:latin typeface="Simplon Oi Headline"/>
                <a:cs typeface="Simplon Oi Headline"/>
              </a:rPr>
              <a:t>green</a:t>
            </a:r>
            <a:r>
              <a:rPr lang="pt-BR" sz="2400" dirty="0" smtClean="0">
                <a:solidFill>
                  <a:srgbClr val="A02BFF"/>
                </a:solidFill>
                <a:latin typeface="Simplon Oi Headline"/>
                <a:cs typeface="Simplon Oi Headline"/>
              </a:rPr>
              <a:t> </a:t>
            </a:r>
            <a:r>
              <a:rPr lang="pt-BR" sz="2400" dirty="0" err="1" smtClean="0">
                <a:solidFill>
                  <a:srgbClr val="A02BFF"/>
                </a:solidFill>
                <a:latin typeface="Simplon Oi Headline"/>
                <a:cs typeface="Simplon Oi Headline"/>
              </a:rPr>
              <a:t>field</a:t>
            </a:r>
            <a:r>
              <a:rPr lang="pt-BR" sz="2400" dirty="0" smtClean="0">
                <a:solidFill>
                  <a:srgbClr val="A02BFF"/>
                </a:solidFill>
                <a:latin typeface="Simplon Oi Headline"/>
                <a:cs typeface="Simplon Oi Headline"/>
              </a:rPr>
              <a:t>]</a:t>
            </a:r>
            <a:endParaRPr lang="pt-BR" sz="2400" dirty="0">
              <a:solidFill>
                <a:srgbClr val="A02BFF"/>
              </a:solidFill>
              <a:latin typeface="Simplon Oi Headline"/>
              <a:cs typeface="Simplon Oi Headline"/>
            </a:endParaRPr>
          </a:p>
        </p:txBody>
      </p:sp>
      <p:sp>
        <p:nvSpPr>
          <p:cNvPr id="12" name="Retângulo de cantos arredondados 11"/>
          <p:cNvSpPr/>
          <p:nvPr/>
        </p:nvSpPr>
        <p:spPr>
          <a:xfrm>
            <a:off x="98989" y="700623"/>
            <a:ext cx="11951243" cy="6157377"/>
          </a:xfrm>
          <a:prstGeom prst="roundRect">
            <a:avLst>
              <a:gd name="adj" fmla="val 3147"/>
            </a:avLst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6000" tIns="48000" rIns="48000" bIns="4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067"/>
              </a:spcBef>
            </a:pPr>
            <a:r>
              <a:rPr lang="pt-BR" sz="1867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Riscos:</a:t>
            </a:r>
            <a:endParaRPr lang="pt-BR" sz="1867" dirty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Os campos que serão utilizados para telas deverão ser definidos em tempo de especificação dos extratores. Onda 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de definição de telas depende de etapa de confirmação de campos, workflows e processo de atendimento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.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Atraso na onda 7.1 do RAID-FMS (CRM) decorrente de desvios relacionados ao desenvolvimento SIEBEL/STC/SINN/SAC na esteira de releases JUN/JUL. calendário de 2018 sinaliza que abertura do PRJ deve ser feita em NOV/17, para pré-candidatura em JAN/18 e aprovação de escopo em </a:t>
            </a:r>
            <a:r>
              <a:rPr lang="pt-BR" sz="1200" dirty="0" err="1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fev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/18.</a:t>
            </a:r>
            <a:endParaRPr lang="pt-BR" sz="1200" dirty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  <a:p>
            <a:pPr marL="171450" indent="-171450">
              <a:spcBef>
                <a:spcPts val="1067"/>
              </a:spcBef>
              <a:buFontTx/>
              <a:buChar char="-"/>
            </a:pPr>
            <a:endParaRPr lang="pt-BR" sz="1200" dirty="0" smtClean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  <a:p>
            <a:pPr marL="171450" indent="-171450">
              <a:spcBef>
                <a:spcPts val="1067"/>
              </a:spcBef>
              <a:buFontTx/>
              <a:buChar char="-"/>
            </a:pPr>
            <a:endParaRPr lang="pt-BR" sz="1200" dirty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  <a:p>
            <a:pPr marL="171450" indent="-171450">
              <a:spcBef>
                <a:spcPts val="1067"/>
              </a:spcBef>
              <a:buFontTx/>
              <a:buChar char="-"/>
            </a:pPr>
            <a:endParaRPr lang="pt-BR" sz="1200" dirty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27508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to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22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22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21928" y="-161921"/>
            <a:ext cx="11905323" cy="800760"/>
          </a:xfrm>
        </p:spPr>
        <p:txBody>
          <a:bodyPr>
            <a:normAutofit fontScale="90000"/>
          </a:bodyPr>
          <a:lstStyle/>
          <a:p>
            <a:pPr>
              <a:lnSpc>
                <a:spcPts val="5600"/>
              </a:lnSpc>
              <a:spcBef>
                <a:spcPts val="0"/>
              </a:spcBef>
            </a:pPr>
            <a:r>
              <a:rPr lang="pt-BR" sz="2400" dirty="0" smtClean="0">
                <a:solidFill>
                  <a:srgbClr val="A02BFF"/>
                </a:solidFill>
                <a:latin typeface="Simplon Oi Headline"/>
                <a:cs typeface="Simplon Oi Headline"/>
              </a:rPr>
              <a:t>ISSUES– Projeto novo Antifraude [</a:t>
            </a:r>
            <a:r>
              <a:rPr lang="pt-BR" sz="2400" dirty="0" err="1" smtClean="0">
                <a:solidFill>
                  <a:srgbClr val="A02BFF"/>
                </a:solidFill>
                <a:latin typeface="Simplon Oi Headline"/>
                <a:cs typeface="Simplon Oi Headline"/>
              </a:rPr>
              <a:t>green</a:t>
            </a:r>
            <a:r>
              <a:rPr lang="pt-BR" sz="2400" dirty="0" smtClean="0">
                <a:solidFill>
                  <a:srgbClr val="A02BFF"/>
                </a:solidFill>
                <a:latin typeface="Simplon Oi Headline"/>
                <a:cs typeface="Simplon Oi Headline"/>
              </a:rPr>
              <a:t> </a:t>
            </a:r>
            <a:r>
              <a:rPr lang="pt-BR" sz="2400" dirty="0" err="1" smtClean="0">
                <a:solidFill>
                  <a:srgbClr val="A02BFF"/>
                </a:solidFill>
                <a:latin typeface="Simplon Oi Headline"/>
                <a:cs typeface="Simplon Oi Headline"/>
              </a:rPr>
              <a:t>field</a:t>
            </a:r>
            <a:r>
              <a:rPr lang="pt-BR" sz="2400" dirty="0" smtClean="0">
                <a:solidFill>
                  <a:srgbClr val="A02BFF"/>
                </a:solidFill>
                <a:latin typeface="Simplon Oi Headline"/>
                <a:cs typeface="Simplon Oi Headline"/>
              </a:rPr>
              <a:t>]</a:t>
            </a:r>
            <a:endParaRPr lang="pt-BR" sz="2400" dirty="0">
              <a:solidFill>
                <a:srgbClr val="A02BFF"/>
              </a:solidFill>
              <a:latin typeface="Simplon Oi Headline"/>
              <a:cs typeface="Simplon Oi Headline"/>
            </a:endParaRPr>
          </a:p>
        </p:txBody>
      </p:sp>
      <p:sp>
        <p:nvSpPr>
          <p:cNvPr id="12" name="Retângulo de cantos arredondados 11"/>
          <p:cNvSpPr/>
          <p:nvPr/>
        </p:nvSpPr>
        <p:spPr>
          <a:xfrm>
            <a:off x="98989" y="700623"/>
            <a:ext cx="11951243" cy="6157377"/>
          </a:xfrm>
          <a:prstGeom prst="roundRect">
            <a:avLst>
              <a:gd name="adj" fmla="val 3147"/>
            </a:avLst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6000" tIns="48000" rIns="48000" bIns="4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067"/>
              </a:spcBef>
            </a:pPr>
            <a:r>
              <a:rPr lang="pt-BR" sz="1867" dirty="0" err="1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Issues</a:t>
            </a:r>
            <a:r>
              <a:rPr lang="pt-BR" sz="1867" b="1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: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Indefinição 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do processo de contratação do BPO para especificação do processo de detecção Programa 2 (definição de telas e regras de detecção] – Impeditivo para inicio das ondas 16 a 20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. [Impacto custo/prazo] Resp. Cezar e Hugo.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Indisponibilidade de recursos dedicado da diretoria de Infra para tratar os temas relacionados aos ambientes DEV/HML/PRD com a agilidade necessária para atender aos prazos agressivos do time de fraude.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Planejamento de aquisição e implementação de HW para ambientes DEV/HML/PRD do Projeto não esta aderente ao planejamento funcional de Ondas do programa 1, comprometendo o inicio das atividades de desenvolvimento da WEDO. 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Necessário alinhamento executivo entre as diretorias para aquisição do RAID-FMS em esteira diferenciada [</a:t>
            </a:r>
            <a:r>
              <a:rPr lang="pt-BR" sz="1200" dirty="0" err="1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kickoff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]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Contingencia de utilização do servidor de HML do RAID-UC em andamento, necessária priorização junto ao time de integração de Infra das ações de ajuste do servidor Oracle.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endParaRPr lang="pt-BR" sz="1200" dirty="0" smtClean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  <a:p>
            <a:pPr marL="171450" indent="-171450">
              <a:spcBef>
                <a:spcPts val="1067"/>
              </a:spcBef>
              <a:buFontTx/>
              <a:buChar char="-"/>
            </a:pPr>
            <a:endParaRPr lang="pt-BR" sz="1200" dirty="0" smtClean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  <a:p>
            <a:pPr marL="171450" indent="-171450">
              <a:spcBef>
                <a:spcPts val="1067"/>
              </a:spcBef>
              <a:buFontTx/>
              <a:buChar char="-"/>
            </a:pPr>
            <a:endParaRPr lang="pt-BR" sz="1200" dirty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09509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3MAOSiL0.VyJhu8lMBr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3MAOSiL0.VyJhu8lMBr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3MAOSiL0.VyJhu8lMBr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3MAOSiL0.VyJhu8lMBrA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6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226</TotalTime>
  <Words>2208</Words>
  <Application>Microsoft Office PowerPoint</Application>
  <PresentationFormat>Widescreen</PresentationFormat>
  <Paragraphs>205</Paragraphs>
  <Slides>10</Slides>
  <Notes>8</Notes>
  <HiddenSlides>3</HiddenSlides>
  <MMClips>0</MMClips>
  <ScaleCrop>false</ScaleCrop>
  <HeadingPairs>
    <vt:vector size="8" baseType="variant">
      <vt:variant>
        <vt:lpstr>Fontes usadas</vt:lpstr>
      </vt:variant>
      <vt:variant>
        <vt:i4>12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0</vt:i4>
      </vt:variant>
    </vt:vector>
  </HeadingPairs>
  <TitlesOfParts>
    <vt:vector size="25" baseType="lpstr">
      <vt:lpstr>ＭＳ Ｐゴシック</vt:lpstr>
      <vt:lpstr>Arial</vt:lpstr>
      <vt:lpstr>Calibri</vt:lpstr>
      <vt:lpstr>Calibri Light</vt:lpstr>
      <vt:lpstr>Georgia</vt:lpstr>
      <vt:lpstr>Museo Sans 300</vt:lpstr>
      <vt:lpstr>Simplon BP</vt:lpstr>
      <vt:lpstr>Simplon BP Bold</vt:lpstr>
      <vt:lpstr>Simplon BP Medium</vt:lpstr>
      <vt:lpstr>Simplon BP Regular</vt:lpstr>
      <vt:lpstr>Simplon Oi Headline</vt:lpstr>
      <vt:lpstr>Wingdings</vt:lpstr>
      <vt:lpstr>Tema do Office</vt:lpstr>
      <vt:lpstr>6_FBBR0598.TP.130513</vt:lpstr>
      <vt:lpstr>think-cell Slid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PREMISSAS e RISCOS MAPEADOS – Projeto novo Antifraude [green field]</vt:lpstr>
      <vt:lpstr>PREMISSAS e RISCOS MAPEADOS – Projeto novo Antifraude [green field]</vt:lpstr>
      <vt:lpstr>ISSUES– Projeto novo Antifraude [green field]</vt:lpstr>
      <vt:lpstr>Pontos de alinhamento – ti / negócio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B. Cinelli</dc:creator>
  <cp:lastModifiedBy>Leandro Marcos Frossard</cp:lastModifiedBy>
  <cp:revision>344</cp:revision>
  <dcterms:created xsi:type="dcterms:W3CDTF">2016-02-02T17:08:20Z</dcterms:created>
  <dcterms:modified xsi:type="dcterms:W3CDTF">2017-09-28T21:44:48Z</dcterms:modified>
</cp:coreProperties>
</file>